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10" r:id="rId2"/>
    <p:sldMasterId id="2147483719" r:id="rId3"/>
    <p:sldMasterId id="2147483730" r:id="rId4"/>
    <p:sldMasterId id="2147483745" r:id="rId5"/>
    <p:sldMasterId id="2147483751" r:id="rId6"/>
    <p:sldMasterId id="2147483760" r:id="rId7"/>
    <p:sldMasterId id="2147483766" r:id="rId8"/>
    <p:sldMasterId id="2147483777" r:id="rId9"/>
  </p:sldMasterIdLst>
  <p:notesMasterIdLst>
    <p:notesMasterId r:id="rId26"/>
  </p:notesMasterIdLst>
  <p:handoutMasterIdLst>
    <p:handoutMasterId r:id="rId27"/>
  </p:handoutMasterIdLst>
  <p:sldIdLst>
    <p:sldId id="903" r:id="rId10"/>
    <p:sldId id="717" r:id="rId11"/>
    <p:sldId id="718" r:id="rId12"/>
    <p:sldId id="681" r:id="rId13"/>
    <p:sldId id="719" r:id="rId14"/>
    <p:sldId id="2087" r:id="rId15"/>
    <p:sldId id="2063" r:id="rId16"/>
    <p:sldId id="2088" r:id="rId17"/>
    <p:sldId id="2059" r:id="rId18"/>
    <p:sldId id="2086" r:id="rId19"/>
    <p:sldId id="905" r:id="rId20"/>
    <p:sldId id="895" r:id="rId21"/>
    <p:sldId id="899" r:id="rId22"/>
    <p:sldId id="894" r:id="rId23"/>
    <p:sldId id="906" r:id="rId24"/>
    <p:sldId id="902" r:id="rId25"/>
  </p:sldIdLst>
  <p:sldSz cx="12192000" cy="6858000"/>
  <p:notesSz cx="6781800" cy="9926638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56" userDrawn="1">
          <p15:clr>
            <a:srgbClr val="A4A3A4"/>
          </p15:clr>
        </p15:guide>
        <p15:guide id="2" orient="horz" pos="3908" userDrawn="1">
          <p15:clr>
            <a:srgbClr val="A4A3A4"/>
          </p15:clr>
        </p15:guide>
        <p15:guide id="3" orient="horz" pos="3566" userDrawn="1">
          <p15:clr>
            <a:srgbClr val="A4A3A4"/>
          </p15:clr>
        </p15:guide>
        <p15:guide id="4" orient="horz" pos="1341" userDrawn="1">
          <p15:clr>
            <a:srgbClr val="A4A3A4"/>
          </p15:clr>
        </p15:guide>
        <p15:guide id="5" orient="horz" pos="443" userDrawn="1">
          <p15:clr>
            <a:srgbClr val="A4A3A4"/>
          </p15:clr>
        </p15:guide>
        <p15:guide id="6" pos="681" userDrawn="1">
          <p15:clr>
            <a:srgbClr val="A4A3A4"/>
          </p15:clr>
        </p15:guide>
        <p15:guide id="7" pos="6519" userDrawn="1">
          <p15:clr>
            <a:srgbClr val="A4A3A4"/>
          </p15:clr>
        </p15:guide>
        <p15:guide id="8" pos="28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9631B5-78F2-41C9-869B-9F39066F8104}" styleName="Mellanmörkt format 3 - Dekorfärg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llanmörkt format 2 - Dekorfär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85" autoAdjust="0"/>
    <p:restoredTop sz="91697" autoAdjust="0"/>
  </p:normalViewPr>
  <p:slideViewPr>
    <p:cSldViewPr snapToGrid="0" showGuides="1">
      <p:cViewPr varScale="1">
        <p:scale>
          <a:sx n="67" d="100"/>
          <a:sy n="67" d="100"/>
        </p:scale>
        <p:origin x="768" y="44"/>
      </p:cViewPr>
      <p:guideLst>
        <p:guide orient="horz" pos="1256"/>
        <p:guide orient="horz" pos="3908"/>
        <p:guide orient="horz" pos="3566"/>
        <p:guide orient="horz" pos="1341"/>
        <p:guide orient="horz" pos="443"/>
        <p:guide pos="681"/>
        <p:guide pos="6519"/>
        <p:guide pos="28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0" d="100"/>
          <a:sy n="90" d="100"/>
        </p:scale>
        <p:origin x="3672" y="72"/>
      </p:cViewPr>
      <p:guideLst>
        <p:guide orient="horz" pos="3126"/>
        <p:guide pos="21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84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41750" y="0"/>
            <a:ext cx="29384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26941D-6ED6-4480-B48D-D720ADA45BFB}" type="datetimeFigureOut">
              <a:rPr lang="sv-SE" smtClean="0"/>
              <a:t>2022-02-11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384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41750" y="9428163"/>
            <a:ext cx="29384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CD1ED4-416D-4DD7-8370-109B0FEA21A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974644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8780" cy="496332"/>
          </a:xfrm>
          <a:prstGeom prst="rect">
            <a:avLst/>
          </a:prstGeom>
        </p:spPr>
        <p:txBody>
          <a:bodyPr vert="horz" lIns="95470" tIns="47736" rIns="95470" bIns="47736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41451" y="1"/>
            <a:ext cx="2938780" cy="496332"/>
          </a:xfrm>
          <a:prstGeom prst="rect">
            <a:avLst/>
          </a:prstGeom>
        </p:spPr>
        <p:txBody>
          <a:bodyPr vert="horz" lIns="95470" tIns="47736" rIns="95470" bIns="47736" rtlCol="0"/>
          <a:lstStyle>
            <a:lvl1pPr algn="r">
              <a:defRPr sz="1200"/>
            </a:lvl1pPr>
          </a:lstStyle>
          <a:p>
            <a:fld id="{00F28322-9E50-4BFC-ADA5-24FE44B8EB92}" type="datetimeFigureOut">
              <a:rPr lang="sv-SE" smtClean="0"/>
              <a:t>2022-02-1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85725" y="746125"/>
            <a:ext cx="6610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70" tIns="47736" rIns="95470" bIns="47736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8180" y="4715153"/>
            <a:ext cx="5425440" cy="4466987"/>
          </a:xfrm>
          <a:prstGeom prst="rect">
            <a:avLst/>
          </a:prstGeom>
        </p:spPr>
        <p:txBody>
          <a:bodyPr vert="horz" lIns="95470" tIns="47736" rIns="95470" bIns="47736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38780" cy="496332"/>
          </a:xfrm>
          <a:prstGeom prst="rect">
            <a:avLst/>
          </a:prstGeom>
        </p:spPr>
        <p:txBody>
          <a:bodyPr vert="horz" lIns="95470" tIns="47736" rIns="95470" bIns="47736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41451" y="9428584"/>
            <a:ext cx="2938780" cy="496332"/>
          </a:xfrm>
          <a:prstGeom prst="rect">
            <a:avLst/>
          </a:prstGeom>
        </p:spPr>
        <p:txBody>
          <a:bodyPr vert="horz" lIns="95470" tIns="47736" rIns="95470" bIns="47736" rtlCol="0" anchor="b"/>
          <a:lstStyle>
            <a:lvl1pPr algn="r">
              <a:defRPr sz="1200"/>
            </a:lvl1pPr>
          </a:lstStyle>
          <a:p>
            <a:fld id="{D4045FB0-5EAC-49C2-A7A1-C763FDD8135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823763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Summa regionerna 1 034 Mkr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8D866-1E6D-49A3-9D6F-045B788EA77F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6683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5362E9-56F8-4489-B0BC-0270E33C950D}" type="slidenum">
              <a:rPr kumimoji="0" lang="sv-S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sv-S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81453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5362E9-56F8-4489-B0BC-0270E33C950D}" type="slidenum">
              <a:rPr kumimoji="0" lang="sv-S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sv-SE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26017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A4C8A-E23D-4898-9CE6-096DAA15A10F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70129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2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6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9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jpe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4173580"/>
            <a:ext cx="12196800" cy="2684421"/>
          </a:xfrm>
          <a:custGeom>
            <a:avLst/>
            <a:gdLst>
              <a:gd name="connsiteX0" fmla="*/ 0 w 9147600"/>
              <a:gd name="connsiteY0" fmla="*/ 0 h 2708275"/>
              <a:gd name="connsiteX1" fmla="*/ 9147600 w 9147600"/>
              <a:gd name="connsiteY1" fmla="*/ 0 h 2708275"/>
              <a:gd name="connsiteX2" fmla="*/ 9147600 w 9147600"/>
              <a:gd name="connsiteY2" fmla="*/ 2708275 h 2708275"/>
              <a:gd name="connsiteX3" fmla="*/ 0 w 9147600"/>
              <a:gd name="connsiteY3" fmla="*/ 2708275 h 2708275"/>
              <a:gd name="connsiteX4" fmla="*/ 0 w 9147600"/>
              <a:gd name="connsiteY4" fmla="*/ 0 h 2708275"/>
              <a:gd name="connsiteX0" fmla="*/ 15903 w 9147600"/>
              <a:gd name="connsiteY0" fmla="*/ 2313829 h 2708275"/>
              <a:gd name="connsiteX1" fmla="*/ 9147600 w 9147600"/>
              <a:gd name="connsiteY1" fmla="*/ 0 h 2708275"/>
              <a:gd name="connsiteX2" fmla="*/ 9147600 w 9147600"/>
              <a:gd name="connsiteY2" fmla="*/ 2708275 h 2708275"/>
              <a:gd name="connsiteX3" fmla="*/ 0 w 9147600"/>
              <a:gd name="connsiteY3" fmla="*/ 2708275 h 2708275"/>
              <a:gd name="connsiteX4" fmla="*/ 15903 w 9147600"/>
              <a:gd name="connsiteY4" fmla="*/ 2313829 h 2708275"/>
              <a:gd name="connsiteX0" fmla="*/ 0 w 9155551"/>
              <a:gd name="connsiteY0" fmla="*/ 2313829 h 2708275"/>
              <a:gd name="connsiteX1" fmla="*/ 9155551 w 9155551"/>
              <a:gd name="connsiteY1" fmla="*/ 0 h 2708275"/>
              <a:gd name="connsiteX2" fmla="*/ 9155551 w 9155551"/>
              <a:gd name="connsiteY2" fmla="*/ 2708275 h 2708275"/>
              <a:gd name="connsiteX3" fmla="*/ 7951 w 9155551"/>
              <a:gd name="connsiteY3" fmla="*/ 2708275 h 2708275"/>
              <a:gd name="connsiteX4" fmla="*/ 0 w 9155551"/>
              <a:gd name="connsiteY4" fmla="*/ 2313829 h 2708275"/>
              <a:gd name="connsiteX0" fmla="*/ 0 w 9155551"/>
              <a:gd name="connsiteY0" fmla="*/ 2289975 h 2684421"/>
              <a:gd name="connsiteX1" fmla="*/ 9139649 w 9155551"/>
              <a:gd name="connsiteY1" fmla="*/ 0 h 2684421"/>
              <a:gd name="connsiteX2" fmla="*/ 9155551 w 9155551"/>
              <a:gd name="connsiteY2" fmla="*/ 2684421 h 2684421"/>
              <a:gd name="connsiteX3" fmla="*/ 7951 w 9155551"/>
              <a:gd name="connsiteY3" fmla="*/ 2684421 h 2684421"/>
              <a:gd name="connsiteX4" fmla="*/ 0 w 9155551"/>
              <a:gd name="connsiteY4" fmla="*/ 2289975 h 2684421"/>
              <a:gd name="connsiteX0" fmla="*/ 0 w 9155551"/>
              <a:gd name="connsiteY0" fmla="*/ 2289975 h 2684421"/>
              <a:gd name="connsiteX1" fmla="*/ 9139649 w 9155551"/>
              <a:gd name="connsiteY1" fmla="*/ 0 h 2684421"/>
              <a:gd name="connsiteX2" fmla="*/ 9155551 w 9155551"/>
              <a:gd name="connsiteY2" fmla="*/ 2684421 h 2684421"/>
              <a:gd name="connsiteX3" fmla="*/ 7951 w 9155551"/>
              <a:gd name="connsiteY3" fmla="*/ 2684421 h 2684421"/>
              <a:gd name="connsiteX4" fmla="*/ 0 w 9155551"/>
              <a:gd name="connsiteY4" fmla="*/ 2289975 h 2684421"/>
              <a:gd name="connsiteX0" fmla="*/ 1 w 9147600"/>
              <a:gd name="connsiteY0" fmla="*/ 2337683 h 2684421"/>
              <a:gd name="connsiteX1" fmla="*/ 9131698 w 9147600"/>
              <a:gd name="connsiteY1" fmla="*/ 0 h 2684421"/>
              <a:gd name="connsiteX2" fmla="*/ 9147600 w 9147600"/>
              <a:gd name="connsiteY2" fmla="*/ 2684421 h 2684421"/>
              <a:gd name="connsiteX3" fmla="*/ 0 w 9147600"/>
              <a:gd name="connsiteY3" fmla="*/ 2684421 h 2684421"/>
              <a:gd name="connsiteX4" fmla="*/ 1 w 9147600"/>
              <a:gd name="connsiteY4" fmla="*/ 2337683 h 2684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7600" h="2684421">
                <a:moveTo>
                  <a:pt x="1" y="2337683"/>
                </a:moveTo>
                <a:lnTo>
                  <a:pt x="9131698" y="0"/>
                </a:lnTo>
                <a:cubicBezTo>
                  <a:pt x="9136999" y="894807"/>
                  <a:pt x="9142299" y="1789614"/>
                  <a:pt x="9147600" y="2684421"/>
                </a:cubicBezTo>
                <a:lnTo>
                  <a:pt x="0" y="2684421"/>
                </a:lnTo>
                <a:cubicBezTo>
                  <a:pt x="0" y="2568842"/>
                  <a:pt x="1" y="2453262"/>
                  <a:pt x="1" y="2337683"/>
                </a:cubicBezTo>
                <a:close/>
              </a:path>
            </a:pathLst>
          </a:custGeom>
          <a:solidFill>
            <a:srgbClr val="A5ACAF"/>
          </a:solidFill>
        </p:spPr>
        <p:txBody>
          <a:bodyPr anchor="b" anchorCtr="0"/>
          <a:lstStyle>
            <a:lvl1pPr marL="0" indent="0" algn="r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045789" y="2059055"/>
            <a:ext cx="10363200" cy="1104900"/>
          </a:xfrm>
        </p:spPr>
        <p:txBody>
          <a:bodyPr/>
          <a:lstStyle>
            <a:lvl1pPr>
              <a:defRPr sz="3400">
                <a:solidFill>
                  <a:srgbClr val="E98300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068918" y="4266502"/>
            <a:ext cx="7811357" cy="232375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1090120" y="5380363"/>
            <a:ext cx="1536171" cy="267235"/>
          </a:xfrm>
        </p:spPr>
        <p:txBody>
          <a:bodyPr/>
          <a:lstStyle>
            <a:lvl1pPr>
              <a:defRPr sz="900" b="1">
                <a:solidFill>
                  <a:srgbClr val="FFFFFF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4" name="Platshållare för text 13"/>
          <p:cNvSpPr>
            <a:spLocks noGrp="1"/>
          </p:cNvSpPr>
          <p:nvPr>
            <p:ph type="body" sz="quarter" idx="14"/>
          </p:nvPr>
        </p:nvSpPr>
        <p:spPr>
          <a:xfrm>
            <a:off x="1068917" y="4475023"/>
            <a:ext cx="7811392" cy="72231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rgbClr val="FFFFFF"/>
                </a:solidFill>
              </a:defRPr>
            </a:lvl1pPr>
            <a:lvl2pPr marL="285750" indent="0">
              <a:buNone/>
              <a:defRPr sz="1400">
                <a:solidFill>
                  <a:schemeClr val="bg2"/>
                </a:solidFill>
              </a:defRPr>
            </a:lvl2pPr>
            <a:lvl3pPr marL="539750" indent="0">
              <a:buNone/>
              <a:defRPr sz="1400">
                <a:solidFill>
                  <a:schemeClr val="bg2"/>
                </a:solidFill>
              </a:defRPr>
            </a:lvl3pPr>
            <a:lvl4pPr marL="723900" indent="0">
              <a:buNone/>
              <a:defRPr sz="1400">
                <a:solidFill>
                  <a:schemeClr val="bg2"/>
                </a:solidFill>
              </a:defRPr>
            </a:lvl4pPr>
            <a:lvl5pPr marL="927100" indent="0">
              <a:buNone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pic>
        <p:nvPicPr>
          <p:cNvPr id="11" name="Bildobjekt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509" y="800438"/>
            <a:ext cx="2592000" cy="544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2369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punktlista och bild hög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68917" y="687600"/>
            <a:ext cx="9268800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8872"/>
            <a:ext cx="4399721" cy="3095625"/>
          </a:xfrm>
        </p:spPr>
        <p:txBody>
          <a:bodyPr/>
          <a:lstStyle>
            <a:lvl1pPr marL="0" indent="0">
              <a:buNone/>
              <a:defRPr sz="1400" b="0" baseline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64964" y="5299365"/>
            <a:ext cx="4416293" cy="471487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1068918" y="2139951"/>
            <a:ext cx="4451988" cy="3648075"/>
          </a:xfrm>
        </p:spPr>
        <p:txBody>
          <a:bodyPr/>
          <a:lstStyle>
            <a:lvl1pPr>
              <a:spcBef>
                <a:spcPts val="0"/>
              </a:spcBef>
              <a:defRPr sz="2600"/>
            </a:lvl1pPr>
            <a:lvl2pPr>
              <a:defRPr sz="2000"/>
            </a:lvl2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5876894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punktlista och stor bild hög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8" y="2139351"/>
            <a:ext cx="4547029" cy="3632799"/>
          </a:xfrm>
        </p:spPr>
        <p:txBody>
          <a:bodyPr/>
          <a:lstStyle>
            <a:lvl1pPr>
              <a:spcBef>
                <a:spcPts val="0"/>
              </a:spcBef>
              <a:defRPr sz="2600"/>
            </a:lvl1pPr>
            <a:lvl2pPr>
              <a:defRPr sz="2000"/>
            </a:lvl2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7600"/>
            <a:ext cx="6424655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840319" y="5221275"/>
            <a:ext cx="4562981" cy="3672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3354468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bild hög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7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8" y="2139351"/>
            <a:ext cx="4547029" cy="36327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 sz="2600"/>
            </a:lvl1pPr>
            <a:lvl2pPr>
              <a:defRPr sz="2000"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Redigera format för bakgrundstext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Nivå två</a:t>
            </a:r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7600"/>
            <a:ext cx="4641863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9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840319" y="5221275"/>
            <a:ext cx="4562981" cy="3672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9680466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bild hög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7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8" y="2139351"/>
            <a:ext cx="4547029" cy="36327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 sz="2000"/>
            </a:lvl1pPr>
            <a:lvl2pPr>
              <a:defRPr sz="2000"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Redigera format för bakgrundstext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Nivå två</a:t>
            </a:r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7600"/>
            <a:ext cx="4641863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9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840319" y="5221275"/>
            <a:ext cx="4562981" cy="3672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32538871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stor bild hög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7600"/>
            <a:ext cx="6424655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840319" y="5221275"/>
            <a:ext cx="4562981" cy="3672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1068918" y="2130425"/>
            <a:ext cx="4336969" cy="3054050"/>
          </a:xfrm>
        </p:spPr>
        <p:txBody>
          <a:bodyPr/>
          <a:lstStyle>
            <a:lvl1pPr marL="0" indent="0">
              <a:buNone/>
              <a:defRPr sz="2600" b="1"/>
            </a:lvl1pPr>
            <a:lvl2pPr marL="285750" indent="0">
              <a:buNone/>
              <a:defRPr/>
            </a:lvl2pPr>
            <a:lvl3pPr marL="539750" indent="0">
              <a:buNone/>
              <a:defRPr/>
            </a:lvl3pPr>
            <a:lvl4pPr marL="723900" indent="0">
              <a:buNone/>
              <a:defRPr/>
            </a:lvl4pPr>
            <a:lvl5pPr marL="927100" indent="0">
              <a:buNone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7198167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stor bild hög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5767346" y="2127600"/>
            <a:ext cx="6424655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2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840319" y="5221275"/>
            <a:ext cx="4562981" cy="367200"/>
          </a:xfrm>
        </p:spPr>
        <p:txBody>
          <a:bodyPr anchor="b" anchorCtr="0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8" y="2139351"/>
            <a:ext cx="4547029" cy="363279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 sz="2000"/>
            </a:lvl1pPr>
            <a:lvl2pPr>
              <a:defRPr sz="2000"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Redigera format för bakgrundstext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Pct val="115000"/>
              <a:buFont typeface="Century Gothic" pitchFamily="34" charset="0"/>
              <a:buNone/>
              <a:tabLst/>
              <a:defRPr/>
            </a:pPr>
            <a:r>
              <a:rPr lang="sv-SE"/>
              <a:t>Nivå två</a:t>
            </a:r>
          </a:p>
        </p:txBody>
      </p:sp>
    </p:spTree>
    <p:extLst>
      <p:ext uri="{BB962C8B-B14F-4D97-AF65-F5344CB8AC3E}">
        <p14:creationId xmlns:p14="http://schemas.microsoft.com/office/powerpoint/2010/main" val="25876084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punktlista och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276592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068918" y="2127601"/>
            <a:ext cx="4399721" cy="3441117"/>
          </a:xfrm>
        </p:spPr>
        <p:txBody>
          <a:bodyPr/>
          <a:lstStyle>
            <a:lvl1pPr marL="0" indent="0">
              <a:buNone/>
              <a:defRPr sz="1400"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5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16437" y="5221275"/>
            <a:ext cx="4658265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15457" y="2139951"/>
            <a:ext cx="4451988" cy="3648075"/>
          </a:xfrm>
        </p:spPr>
        <p:txBody>
          <a:bodyPr/>
          <a:lstStyle>
            <a:lvl1pPr>
              <a:spcBef>
                <a:spcPts val="0"/>
              </a:spcBef>
              <a:defRPr sz="2600"/>
            </a:lvl1pPr>
            <a:lvl2pPr>
              <a:defRPr sz="2000"/>
            </a:lvl2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4901632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punktlista och stor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302909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" y="2127600"/>
            <a:ext cx="5458940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1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04936" y="5221275"/>
            <a:ext cx="4704272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3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15457" y="2139951"/>
            <a:ext cx="4451988" cy="3648075"/>
          </a:xfrm>
        </p:spPr>
        <p:txBody>
          <a:bodyPr/>
          <a:lstStyle>
            <a:lvl1pPr>
              <a:spcBef>
                <a:spcPts val="0"/>
              </a:spcBef>
              <a:defRPr sz="2600"/>
            </a:lvl1pPr>
            <a:lvl2pPr>
              <a:defRPr sz="2000"/>
            </a:lvl2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2105883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bild vänst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276592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068918" y="2127601"/>
            <a:ext cx="4399721" cy="3441117"/>
          </a:xfrm>
        </p:spPr>
        <p:txBody>
          <a:bodyPr/>
          <a:lstStyle>
            <a:lvl1pPr marL="0" indent="0">
              <a:buNone/>
              <a:defRPr sz="1400"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5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16437" y="5221275"/>
            <a:ext cx="4658265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04936" y="2130426"/>
            <a:ext cx="4668848" cy="2976412"/>
          </a:xfrm>
        </p:spPr>
        <p:txBody>
          <a:bodyPr/>
          <a:lstStyle>
            <a:lvl1pPr marL="0" indent="0">
              <a:buNone/>
              <a:defRPr sz="2600"/>
            </a:lvl1pPr>
            <a:lvl2pPr marL="285750" indent="0">
              <a:buNone/>
              <a:defRPr sz="2000"/>
            </a:lvl2pPr>
            <a:lvl3pPr marL="539750" indent="0">
              <a:buNone/>
              <a:defRPr/>
            </a:lvl3pPr>
            <a:lvl4pPr marL="723900" indent="0">
              <a:buNone/>
              <a:defRPr/>
            </a:lvl4pPr>
            <a:lvl5pPr marL="927100" indent="0">
              <a:buNone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9303493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bild vänst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276592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068918" y="2127601"/>
            <a:ext cx="4399721" cy="3441117"/>
          </a:xfrm>
        </p:spPr>
        <p:txBody>
          <a:bodyPr/>
          <a:lstStyle>
            <a:lvl1pPr marL="0" indent="0">
              <a:buNone/>
              <a:defRPr sz="1400"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5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16437" y="5221275"/>
            <a:ext cx="4658265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04936" y="2130426"/>
            <a:ext cx="4668848" cy="2976412"/>
          </a:xfrm>
        </p:spPr>
        <p:txBody>
          <a:bodyPr/>
          <a:lstStyle>
            <a:lvl1pPr marL="0" indent="0"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9303493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med plats fö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548842"/>
            <a:ext cx="12196800" cy="5309159"/>
          </a:xfrm>
          <a:custGeom>
            <a:avLst/>
            <a:gdLst>
              <a:gd name="connsiteX0" fmla="*/ 0 w 9147600"/>
              <a:gd name="connsiteY0" fmla="*/ 0 h 2708275"/>
              <a:gd name="connsiteX1" fmla="*/ 9147600 w 9147600"/>
              <a:gd name="connsiteY1" fmla="*/ 0 h 2708275"/>
              <a:gd name="connsiteX2" fmla="*/ 9147600 w 9147600"/>
              <a:gd name="connsiteY2" fmla="*/ 2708275 h 2708275"/>
              <a:gd name="connsiteX3" fmla="*/ 0 w 9147600"/>
              <a:gd name="connsiteY3" fmla="*/ 2708275 h 2708275"/>
              <a:gd name="connsiteX4" fmla="*/ 0 w 9147600"/>
              <a:gd name="connsiteY4" fmla="*/ 0 h 2708275"/>
              <a:gd name="connsiteX0" fmla="*/ 15903 w 9147600"/>
              <a:gd name="connsiteY0" fmla="*/ 2313829 h 2708275"/>
              <a:gd name="connsiteX1" fmla="*/ 9147600 w 9147600"/>
              <a:gd name="connsiteY1" fmla="*/ 0 h 2708275"/>
              <a:gd name="connsiteX2" fmla="*/ 9147600 w 9147600"/>
              <a:gd name="connsiteY2" fmla="*/ 2708275 h 2708275"/>
              <a:gd name="connsiteX3" fmla="*/ 0 w 9147600"/>
              <a:gd name="connsiteY3" fmla="*/ 2708275 h 2708275"/>
              <a:gd name="connsiteX4" fmla="*/ 15903 w 9147600"/>
              <a:gd name="connsiteY4" fmla="*/ 2313829 h 2708275"/>
              <a:gd name="connsiteX0" fmla="*/ 0 w 9155551"/>
              <a:gd name="connsiteY0" fmla="*/ 2313829 h 2708275"/>
              <a:gd name="connsiteX1" fmla="*/ 9155551 w 9155551"/>
              <a:gd name="connsiteY1" fmla="*/ 0 h 2708275"/>
              <a:gd name="connsiteX2" fmla="*/ 9155551 w 9155551"/>
              <a:gd name="connsiteY2" fmla="*/ 2708275 h 2708275"/>
              <a:gd name="connsiteX3" fmla="*/ 7951 w 9155551"/>
              <a:gd name="connsiteY3" fmla="*/ 2708275 h 2708275"/>
              <a:gd name="connsiteX4" fmla="*/ 0 w 9155551"/>
              <a:gd name="connsiteY4" fmla="*/ 2313829 h 2708275"/>
              <a:gd name="connsiteX0" fmla="*/ 0 w 9155551"/>
              <a:gd name="connsiteY0" fmla="*/ 2289975 h 2684421"/>
              <a:gd name="connsiteX1" fmla="*/ 9139649 w 9155551"/>
              <a:gd name="connsiteY1" fmla="*/ 0 h 2684421"/>
              <a:gd name="connsiteX2" fmla="*/ 9155551 w 9155551"/>
              <a:gd name="connsiteY2" fmla="*/ 2684421 h 2684421"/>
              <a:gd name="connsiteX3" fmla="*/ 7951 w 9155551"/>
              <a:gd name="connsiteY3" fmla="*/ 2684421 h 2684421"/>
              <a:gd name="connsiteX4" fmla="*/ 0 w 9155551"/>
              <a:gd name="connsiteY4" fmla="*/ 2289975 h 2684421"/>
              <a:gd name="connsiteX0" fmla="*/ 0 w 9155551"/>
              <a:gd name="connsiteY0" fmla="*/ 2289975 h 2684421"/>
              <a:gd name="connsiteX1" fmla="*/ 9139649 w 9155551"/>
              <a:gd name="connsiteY1" fmla="*/ 0 h 2684421"/>
              <a:gd name="connsiteX2" fmla="*/ 9155551 w 9155551"/>
              <a:gd name="connsiteY2" fmla="*/ 2684421 h 2684421"/>
              <a:gd name="connsiteX3" fmla="*/ 7951 w 9155551"/>
              <a:gd name="connsiteY3" fmla="*/ 2684421 h 2684421"/>
              <a:gd name="connsiteX4" fmla="*/ 0 w 9155551"/>
              <a:gd name="connsiteY4" fmla="*/ 2289975 h 2684421"/>
              <a:gd name="connsiteX0" fmla="*/ 1 w 9147600"/>
              <a:gd name="connsiteY0" fmla="*/ 2337683 h 2684421"/>
              <a:gd name="connsiteX1" fmla="*/ 9131698 w 9147600"/>
              <a:gd name="connsiteY1" fmla="*/ 0 h 2684421"/>
              <a:gd name="connsiteX2" fmla="*/ 9147600 w 9147600"/>
              <a:gd name="connsiteY2" fmla="*/ 2684421 h 2684421"/>
              <a:gd name="connsiteX3" fmla="*/ 0 w 9147600"/>
              <a:gd name="connsiteY3" fmla="*/ 2684421 h 2684421"/>
              <a:gd name="connsiteX4" fmla="*/ 1 w 9147600"/>
              <a:gd name="connsiteY4" fmla="*/ 2337683 h 2684421"/>
              <a:gd name="connsiteX0" fmla="*/ 1 w 9147600"/>
              <a:gd name="connsiteY0" fmla="*/ 1182114 h 2684421"/>
              <a:gd name="connsiteX1" fmla="*/ 9131698 w 9147600"/>
              <a:gd name="connsiteY1" fmla="*/ 0 h 2684421"/>
              <a:gd name="connsiteX2" fmla="*/ 9147600 w 9147600"/>
              <a:gd name="connsiteY2" fmla="*/ 2684421 h 2684421"/>
              <a:gd name="connsiteX3" fmla="*/ 0 w 9147600"/>
              <a:gd name="connsiteY3" fmla="*/ 2684421 h 2684421"/>
              <a:gd name="connsiteX4" fmla="*/ 1 w 9147600"/>
              <a:gd name="connsiteY4" fmla="*/ 1182114 h 2684421"/>
              <a:gd name="connsiteX0" fmla="*/ 1 w 9147600"/>
              <a:gd name="connsiteY0" fmla="*/ 1186140 h 2688447"/>
              <a:gd name="connsiteX1" fmla="*/ 9139649 w 9147600"/>
              <a:gd name="connsiteY1" fmla="*/ 0 h 2688447"/>
              <a:gd name="connsiteX2" fmla="*/ 9147600 w 9147600"/>
              <a:gd name="connsiteY2" fmla="*/ 2688447 h 2688447"/>
              <a:gd name="connsiteX3" fmla="*/ 0 w 9147600"/>
              <a:gd name="connsiteY3" fmla="*/ 2688447 h 2688447"/>
              <a:gd name="connsiteX4" fmla="*/ 1 w 9147600"/>
              <a:gd name="connsiteY4" fmla="*/ 1186140 h 2688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7600" h="2688447">
                <a:moveTo>
                  <a:pt x="1" y="1186140"/>
                </a:moveTo>
                <a:lnTo>
                  <a:pt x="9139649" y="0"/>
                </a:lnTo>
                <a:cubicBezTo>
                  <a:pt x="9144950" y="894807"/>
                  <a:pt x="9142299" y="1793640"/>
                  <a:pt x="9147600" y="2688447"/>
                </a:cubicBezTo>
                <a:lnTo>
                  <a:pt x="0" y="2688447"/>
                </a:lnTo>
                <a:cubicBezTo>
                  <a:pt x="0" y="2572868"/>
                  <a:pt x="1" y="1301719"/>
                  <a:pt x="1" y="1186140"/>
                </a:cubicBezTo>
                <a:close/>
              </a:path>
            </a:pathLst>
          </a:custGeom>
          <a:solidFill>
            <a:srgbClr val="A5ACAF"/>
          </a:solidFill>
        </p:spPr>
        <p:txBody>
          <a:bodyPr anchor="b" anchorCtr="0"/>
          <a:lstStyle>
            <a:lvl1pPr marL="0" indent="0" algn="r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045789" y="725701"/>
            <a:ext cx="10363200" cy="1408385"/>
          </a:xfrm>
        </p:spPr>
        <p:txBody>
          <a:bodyPr/>
          <a:lstStyle>
            <a:lvl1pPr>
              <a:defRPr sz="3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033391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stor bild vänster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302909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" y="2127600"/>
            <a:ext cx="5458940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1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04936" y="5221275"/>
            <a:ext cx="4704272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2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04936" y="2130426"/>
            <a:ext cx="4668848" cy="2976412"/>
          </a:xfrm>
        </p:spPr>
        <p:txBody>
          <a:bodyPr/>
          <a:lstStyle>
            <a:lvl1pPr marL="0" indent="0">
              <a:buNone/>
              <a:defRPr sz="2600"/>
            </a:lvl1pPr>
            <a:lvl2pPr marL="285750" indent="0">
              <a:buNone/>
              <a:defRPr sz="2000"/>
            </a:lvl2pPr>
            <a:lvl3pPr marL="539750" indent="0">
              <a:buNone/>
              <a:defRPr/>
            </a:lvl3pPr>
            <a:lvl4pPr marL="723900" indent="0">
              <a:buNone/>
              <a:defRPr/>
            </a:lvl4pPr>
            <a:lvl5pPr marL="927100" indent="0">
              <a:buNone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18036160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, text och stor bild vänster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302909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" y="2127600"/>
            <a:ext cx="5458940" cy="3439984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1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04936" y="5221275"/>
            <a:ext cx="4704272" cy="367200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2" name="Platshållare för text 6"/>
          <p:cNvSpPr>
            <a:spLocks noGrp="1"/>
          </p:cNvSpPr>
          <p:nvPr>
            <p:ph type="body" sz="quarter" idx="16"/>
          </p:nvPr>
        </p:nvSpPr>
        <p:spPr>
          <a:xfrm>
            <a:off x="5704936" y="2130426"/>
            <a:ext cx="4668848" cy="2976412"/>
          </a:xfrm>
        </p:spPr>
        <p:txBody>
          <a:bodyPr/>
          <a:lstStyle>
            <a:lvl1pPr marL="0" indent="0">
              <a:buNone/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18036160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068918" y="2074073"/>
            <a:ext cx="9110133" cy="3438525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9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66571" y="5612278"/>
            <a:ext cx="4416293" cy="153853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5697159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 utfalland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3" y="687600"/>
            <a:ext cx="9104716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0" y="2066926"/>
            <a:ext cx="12192000" cy="3438525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13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5766571" y="5612278"/>
            <a:ext cx="4416293" cy="153853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900" b="0" i="1"/>
            </a:lvl1pPr>
            <a:lvl2pPr marL="285750" indent="0">
              <a:buNone/>
              <a:defRPr sz="900"/>
            </a:lvl2pPr>
            <a:lvl3pPr marL="539750" indent="0">
              <a:buNone/>
              <a:defRPr sz="900"/>
            </a:lvl3pPr>
            <a:lvl4pPr marL="723900" indent="0">
              <a:buNone/>
              <a:defRPr sz="900"/>
            </a:lvl4pPr>
            <a:lvl5pPr marL="927100" indent="0">
              <a:buNone/>
              <a:defRPr sz="900"/>
            </a:lvl5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7922803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tfallande bild utan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5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0" y="664235"/>
            <a:ext cx="12192000" cy="5003320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554186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71792" y="687600"/>
            <a:ext cx="9276592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656317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06747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029256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535799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581809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uta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8" name="Rektangel 2"/>
          <p:cNvSpPr/>
          <p:nvPr userDrawn="1"/>
        </p:nvSpPr>
        <p:spPr>
          <a:xfrm>
            <a:off x="0" y="1543050"/>
            <a:ext cx="12192000" cy="5314950"/>
          </a:xfrm>
          <a:custGeom>
            <a:avLst/>
            <a:gdLst>
              <a:gd name="connsiteX0" fmla="*/ 0 w 9144000"/>
              <a:gd name="connsiteY0" fmla="*/ 0 h 5314950"/>
              <a:gd name="connsiteX1" fmla="*/ 9144000 w 9144000"/>
              <a:gd name="connsiteY1" fmla="*/ 0 h 5314950"/>
              <a:gd name="connsiteX2" fmla="*/ 9144000 w 9144000"/>
              <a:gd name="connsiteY2" fmla="*/ 5314950 h 5314950"/>
              <a:gd name="connsiteX3" fmla="*/ 0 w 9144000"/>
              <a:gd name="connsiteY3" fmla="*/ 5314950 h 5314950"/>
              <a:gd name="connsiteX4" fmla="*/ 0 w 9144000"/>
              <a:gd name="connsiteY4" fmla="*/ 0 h 5314950"/>
              <a:gd name="connsiteX0" fmla="*/ 0 w 9144000"/>
              <a:gd name="connsiteY0" fmla="*/ 2771775 h 5314950"/>
              <a:gd name="connsiteX1" fmla="*/ 9144000 w 9144000"/>
              <a:gd name="connsiteY1" fmla="*/ 0 h 5314950"/>
              <a:gd name="connsiteX2" fmla="*/ 9144000 w 9144000"/>
              <a:gd name="connsiteY2" fmla="*/ 5314950 h 5314950"/>
              <a:gd name="connsiteX3" fmla="*/ 0 w 9144000"/>
              <a:gd name="connsiteY3" fmla="*/ 5314950 h 5314950"/>
              <a:gd name="connsiteX4" fmla="*/ 0 w 9144000"/>
              <a:gd name="connsiteY4" fmla="*/ 2771775 h 5314950"/>
              <a:gd name="connsiteX0" fmla="*/ 0 w 9144000"/>
              <a:gd name="connsiteY0" fmla="*/ 2352675 h 5314950"/>
              <a:gd name="connsiteX1" fmla="*/ 9144000 w 9144000"/>
              <a:gd name="connsiteY1" fmla="*/ 0 h 5314950"/>
              <a:gd name="connsiteX2" fmla="*/ 9144000 w 9144000"/>
              <a:gd name="connsiteY2" fmla="*/ 5314950 h 5314950"/>
              <a:gd name="connsiteX3" fmla="*/ 0 w 9144000"/>
              <a:gd name="connsiteY3" fmla="*/ 5314950 h 5314950"/>
              <a:gd name="connsiteX4" fmla="*/ 0 w 9144000"/>
              <a:gd name="connsiteY4" fmla="*/ 2352675 h 5314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5314950">
                <a:moveTo>
                  <a:pt x="0" y="2352675"/>
                </a:moveTo>
                <a:lnTo>
                  <a:pt x="9144000" y="0"/>
                </a:lnTo>
                <a:lnTo>
                  <a:pt x="9144000" y="5314950"/>
                </a:lnTo>
                <a:lnTo>
                  <a:pt x="0" y="5314950"/>
                </a:lnTo>
                <a:lnTo>
                  <a:pt x="0" y="2352675"/>
                </a:lnTo>
                <a:close/>
              </a:path>
            </a:pathLst>
          </a:custGeom>
          <a:solidFill>
            <a:srgbClr val="A5AC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900" dirty="0">
              <a:solidFill>
                <a:schemeClr val="tx1"/>
              </a:solidFill>
            </a:endParaRPr>
          </a:p>
        </p:txBody>
      </p:sp>
      <p:sp>
        <p:nvSpPr>
          <p:cNvPr id="9" name="Rubrik 1"/>
          <p:cNvSpPr>
            <a:spLocks noGrp="1"/>
          </p:cNvSpPr>
          <p:nvPr>
            <p:ph type="ctrTitle"/>
          </p:nvPr>
        </p:nvSpPr>
        <p:spPr>
          <a:xfrm>
            <a:off x="1045789" y="725701"/>
            <a:ext cx="10363200" cy="1408385"/>
          </a:xfrm>
        </p:spPr>
        <p:txBody>
          <a:bodyPr/>
          <a:lstStyle>
            <a:lvl1pPr>
              <a:defRPr sz="3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97" y="6210000"/>
            <a:ext cx="1396800" cy="293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9306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 mö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975186"/>
            <a:ext cx="5326992" cy="1112405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975186"/>
            <a:ext cx="4172325" cy="5260014"/>
          </a:xfrm>
        </p:spPr>
        <p:txBody>
          <a:bodyPr/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47237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975600"/>
            <a:ext cx="9608400" cy="1112400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645618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215984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749770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234454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-1499"/>
            <a:ext cx="12192599" cy="6859498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3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50"/>
            <a:ext cx="9608400" cy="131085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2055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787164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26579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455304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874602"/>
            <a:ext cx="5326992" cy="122851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874602"/>
            <a:ext cx="4172325" cy="536059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83142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punktlista – enstaka o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7" y="2059200"/>
            <a:ext cx="9279467" cy="3708400"/>
          </a:xfrm>
        </p:spPr>
        <p:txBody>
          <a:bodyPr/>
          <a:lstStyle>
            <a:lvl1pPr>
              <a:spcBef>
                <a:spcPts val="0"/>
              </a:spcBef>
              <a:defRPr sz="2600" b="1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22242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875015"/>
            <a:ext cx="9608400" cy="1228105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979124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043268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0832058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748157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1990BB4-32BE-4AAB-BB2B-46C192DF8F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1990BB4-32BE-4AAB-BB2B-46C192DF8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12CEC54-376B-455A-89ED-FF07490B2E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sv-SE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196" indent="0" algn="ctr">
              <a:buNone/>
              <a:defRPr sz="2000"/>
            </a:lvl2pPr>
            <a:lvl3pPr marL="914393" indent="0" algn="ctr">
              <a:buNone/>
              <a:defRPr sz="1800"/>
            </a:lvl3pPr>
            <a:lvl4pPr marL="1371588" indent="0" algn="ctr">
              <a:buNone/>
              <a:defRPr sz="1600"/>
            </a:lvl4pPr>
            <a:lvl5pPr marL="1828786" indent="0" algn="ctr">
              <a:buNone/>
              <a:defRPr sz="1600"/>
            </a:lvl5pPr>
            <a:lvl6pPr marL="2285982" indent="0" algn="ctr">
              <a:buNone/>
              <a:defRPr sz="1600"/>
            </a:lvl6pPr>
            <a:lvl7pPr marL="2743179" indent="0" algn="ctr">
              <a:buNone/>
              <a:defRPr sz="1600"/>
            </a:lvl7pPr>
            <a:lvl8pPr marL="3200374" indent="0" algn="ctr">
              <a:buNone/>
              <a:defRPr sz="1600"/>
            </a:lvl8pPr>
            <a:lvl9pPr marL="3657571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 – FÖR DISKUSSIO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324876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32552DC-6173-437D-92BB-2521144C68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32552DC-6173-437D-92BB-2521144C68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878E6B7-50C6-476F-A8AE-97C82BC7881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sv-SE" sz="5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497"/>
            <a:ext cx="12192599" cy="6859498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3" indent="0">
              <a:buNone/>
              <a:defRPr/>
            </a:lvl1pPr>
          </a:lstStyle>
          <a:p>
            <a:r>
              <a:rPr lang="sv-SE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66000" y="1889550"/>
            <a:ext cx="9608400" cy="131085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 – FÖR DISKUSSIO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56721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F194AD7-FD5B-4822-ADAD-88BF582972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sv-SE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 – FÖR DISKUSSIO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09221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27074E7-E4E6-48E0-9A49-8FC7ADAA7D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27074E7-E4E6-48E0-9A49-8FC7ADAA7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BDFF171-8C1E-43C6-8BD2-83F6143E3E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sv-SE" sz="5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1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 – FÖR DISKUSSIO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368031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21B0BE1-0F1B-43D1-8F14-3A5E843B10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21B0BE1-0F1B-43D1-8F14-3A5E843B1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CEB6AA3-AFCE-4B46-B6D2-B2A9DE9B9A4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sv-SE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66002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 – FÖR DISKUSSION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761313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7F65E95-EA74-4F42-BDF1-B71D7F7AEE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1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7F65E95-EA74-4F42-BDF1-B71D7F7AE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369E44F-B65C-4168-AC6B-6CC1FCE7617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sv-SE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64234" y="874602"/>
            <a:ext cx="5326992" cy="1228518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096001" y="874602"/>
            <a:ext cx="4172325" cy="536059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 – FÖR DISKUSSION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566535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punktlista – mening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7" y="2059200"/>
            <a:ext cx="9279467" cy="3708400"/>
          </a:xfrm>
        </p:spPr>
        <p:txBody>
          <a:bodyPr/>
          <a:lstStyle>
            <a:lvl1pPr>
              <a:spcBef>
                <a:spcPts val="0"/>
              </a:spcBef>
              <a:defRPr sz="2600" b="0"/>
            </a:lvl1pPr>
            <a:lvl2pPr>
              <a:defRPr sz="2000"/>
            </a:lvl2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40547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F78D2EA-79F5-479A-BE39-CDC36B2C4B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F78D2EA-79F5-479A-BE39-CDC36B2C4B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E853B3-0A7D-41B8-ADD7-AC5BECE7F1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sv-SE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66000" y="875017"/>
            <a:ext cx="9608400" cy="1228105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666003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196" indent="0">
              <a:buNone/>
              <a:defRPr sz="2000" b="1"/>
            </a:lvl2pPr>
            <a:lvl3pPr marL="914393" indent="0">
              <a:buNone/>
              <a:defRPr sz="1800" b="1"/>
            </a:lvl3pPr>
            <a:lvl4pPr marL="1371588" indent="0">
              <a:buNone/>
              <a:defRPr sz="1600" b="1"/>
            </a:lvl4pPr>
            <a:lvl5pPr marL="1828786" indent="0">
              <a:buNone/>
              <a:defRPr sz="1600" b="1"/>
            </a:lvl5pPr>
            <a:lvl6pPr marL="2285982" indent="0">
              <a:buNone/>
              <a:defRPr sz="1600" b="1"/>
            </a:lvl6pPr>
            <a:lvl7pPr marL="2743179" indent="0">
              <a:buNone/>
              <a:defRPr sz="1600" b="1"/>
            </a:lvl7pPr>
            <a:lvl8pPr marL="3200374" indent="0">
              <a:buNone/>
              <a:defRPr sz="1600" b="1"/>
            </a:lvl8pPr>
            <a:lvl9pPr marL="3657571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66002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 hasCustomPrompt="1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196" indent="0">
              <a:buNone/>
              <a:defRPr sz="2000" b="1"/>
            </a:lvl2pPr>
            <a:lvl3pPr marL="914393" indent="0">
              <a:buNone/>
              <a:defRPr sz="1800" b="1"/>
            </a:lvl3pPr>
            <a:lvl4pPr marL="1371588" indent="0">
              <a:buNone/>
              <a:defRPr sz="1600" b="1"/>
            </a:lvl4pPr>
            <a:lvl5pPr marL="1828786" indent="0">
              <a:buNone/>
              <a:defRPr sz="1600" b="1"/>
            </a:lvl5pPr>
            <a:lvl6pPr marL="2285982" indent="0">
              <a:buNone/>
              <a:defRPr sz="1600" b="1"/>
            </a:lvl6pPr>
            <a:lvl7pPr marL="2743179" indent="0">
              <a:buNone/>
              <a:defRPr sz="1600" b="1"/>
            </a:lvl7pPr>
            <a:lvl8pPr marL="3200374" indent="0">
              <a:buNone/>
              <a:defRPr sz="1600" b="1"/>
            </a:lvl8pPr>
            <a:lvl9pPr marL="3657571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 hasCustomPrompt="1"/>
          </p:nvPr>
        </p:nvSpPr>
        <p:spPr>
          <a:xfrm>
            <a:off x="5551202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 – FÖR DISKUSSION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2499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9384AF-7BA3-4075-AF01-A4B6B7CA7E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9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B9384AF-7BA3-4075-AF01-A4B6B7CA7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37807E0-4B31-40FD-8234-2BCBE23C54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sv-SE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 – FÖR DISKUSSION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054864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B6878A-06C7-4F47-857B-266FFEFE0A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B6878A-06C7-4F47-857B-266FFEFE0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 – FÖR DISKUSSION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726025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RBETSMATERIAL – FÖR DISKUSSION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9353953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1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2744B49-5D6B-49DD-9417-62637AF082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449"/>
              </a:lnSpc>
              <a:spcBef>
                <a:spcPct val="0"/>
              </a:spcBef>
              <a:spcAft>
                <a:spcPct val="0"/>
              </a:spcAft>
            </a:pPr>
            <a:endParaRPr lang="sv-SE" sz="2245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00979" y="419358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 hasCustomPrompt="1"/>
          </p:nvPr>
        </p:nvSpPr>
        <p:spPr>
          <a:xfrm>
            <a:off x="400979" y="1169459"/>
            <a:ext cx="11393620" cy="1593829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3" y="6608794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>
                <a:latin typeface="Calibri" pitchFamily="34" charset="0"/>
              </a:rPr>
              <a:pPr>
                <a:defRPr/>
              </a:pPr>
              <a:t>‹#›</a:t>
            </a:fld>
            <a:r>
              <a:rPr lang="sv-SE">
                <a:latin typeface="Calibri" pitchFamily="34" charset="0"/>
              </a:rPr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4" y="6608796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 – FÖR DISKUSSION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4"/>
            </p:custDataLst>
          </p:nvPr>
        </p:nvSpPr>
        <p:spPr>
          <a:xfrm>
            <a:off x="399119" y="799154"/>
            <a:ext cx="9641736" cy="282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99564" y="5902244"/>
            <a:ext cx="11395037" cy="510219"/>
          </a:xfrm>
        </p:spPr>
        <p:txBody>
          <a:bodyPr anchor="b" anchorCtr="0"/>
          <a:lstStyle>
            <a:lvl1pPr marL="628450" indent="-628450" defTabSz="639786">
              <a:lnSpc>
                <a:spcPts val="918"/>
              </a:lnSpc>
              <a:spcAft>
                <a:spcPts val="0"/>
              </a:spcAft>
              <a:tabLst>
                <a:tab pos="479435" algn="r"/>
                <a:tab pos="639786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50" lvl="0" indent="-628450" defTabSz="639786">
              <a:lnSpc>
                <a:spcPts val="1020"/>
              </a:lnSpc>
              <a:spcAft>
                <a:spcPts val="0"/>
              </a:spcAft>
              <a:tabLst>
                <a:tab pos="479435" algn="r"/>
                <a:tab pos="639786" algn="l"/>
              </a:tabLst>
            </a:pPr>
            <a:r>
              <a:rPr lang="sv-SE" sz="102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20" err="1">
                <a:ea typeface="Verdana" pitchFamily="34" charset="0"/>
                <a:cs typeface="Verdana" pitchFamily="34" charset="0"/>
              </a:rPr>
              <a:t>xxxxxx</a:t>
            </a:r>
            <a:endParaRPr lang="sv-SE" sz="1020">
              <a:ea typeface="Verdana" pitchFamily="34" charset="0"/>
              <a:cs typeface="Verdana" pitchFamily="34" charset="0"/>
            </a:endParaRPr>
          </a:p>
          <a:p>
            <a:pPr marL="628450" lvl="0" indent="-628450" defTabSz="639786">
              <a:lnSpc>
                <a:spcPts val="1020"/>
              </a:lnSpc>
              <a:spcAft>
                <a:spcPts val="0"/>
              </a:spcAft>
              <a:tabLst>
                <a:tab pos="479435" algn="r"/>
                <a:tab pos="639786" algn="l"/>
              </a:tabLst>
            </a:pPr>
            <a:r>
              <a:rPr lang="sv-SE" sz="102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50" lvl="0" indent="-628450" defTabSz="639786">
              <a:lnSpc>
                <a:spcPts val="1020"/>
              </a:lnSpc>
              <a:spcAft>
                <a:spcPts val="0"/>
              </a:spcAft>
              <a:tabLst>
                <a:tab pos="479435" algn="r"/>
                <a:tab pos="639786" algn="l"/>
              </a:tabLst>
            </a:pPr>
            <a:r>
              <a:rPr lang="sv-SE" sz="102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err="1">
                <a:ea typeface="Verdana" pitchFamily="34" charset="0"/>
                <a:cs typeface="Verdana" pitchFamily="34" charset="0"/>
              </a:rPr>
              <a:t>xxxx</a:t>
            </a:r>
            <a:endParaRPr lang="sv-SE" sz="102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75856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4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62" y="1624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4B0AA3-7740-4C42-9ABA-D5F3BB6713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449"/>
              </a:lnSpc>
              <a:spcBef>
                <a:spcPct val="0"/>
              </a:spcBef>
              <a:spcAft>
                <a:spcPct val="0"/>
              </a:spcAft>
            </a:pPr>
            <a:endParaRPr lang="sv-SE" sz="2245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2586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rgbClr val="006428"/>
                </a:solidFill>
              </a:defRPr>
            </a:lvl1pPr>
          </a:lstStyle>
          <a:p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r>
              <a:rPr lang="sv-SE"/>
              <a:t> sty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3" y="6584562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4" y="6584562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 – FÖR DISKUSSION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4"/>
            </p:custDataLst>
          </p:nvPr>
        </p:nvSpPr>
        <p:spPr>
          <a:xfrm>
            <a:off x="399117" y="799154"/>
            <a:ext cx="11395483" cy="282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99563" y="6005714"/>
            <a:ext cx="8261932" cy="510219"/>
          </a:xfrm>
        </p:spPr>
        <p:txBody>
          <a:bodyPr anchor="b" anchorCtr="0"/>
          <a:lstStyle>
            <a:lvl1pPr marL="628450" indent="-628450" defTabSz="639786">
              <a:lnSpc>
                <a:spcPts val="918"/>
              </a:lnSpc>
              <a:spcAft>
                <a:spcPts val="0"/>
              </a:spcAft>
              <a:tabLst>
                <a:tab pos="479435" algn="r"/>
                <a:tab pos="639786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450" lvl="0" indent="-628450" defTabSz="639786">
              <a:lnSpc>
                <a:spcPts val="1020"/>
              </a:lnSpc>
              <a:spcAft>
                <a:spcPts val="0"/>
              </a:spcAft>
              <a:tabLst>
                <a:tab pos="479435" algn="r"/>
                <a:tab pos="639786" algn="l"/>
              </a:tabLst>
            </a:pPr>
            <a:r>
              <a:rPr lang="sv-SE" sz="1020">
                <a:ea typeface="Verdana" pitchFamily="34" charset="0"/>
                <a:cs typeface="Verdana" pitchFamily="34" charset="0"/>
              </a:rPr>
              <a:t>	Not:	</a:t>
            </a:r>
            <a:r>
              <a:rPr lang="sv-SE" sz="1020" err="1">
                <a:ea typeface="Verdana" pitchFamily="34" charset="0"/>
                <a:cs typeface="Verdana" pitchFamily="34" charset="0"/>
              </a:rPr>
              <a:t>xxxxxx</a:t>
            </a:r>
            <a:endParaRPr lang="sv-SE" sz="1020">
              <a:ea typeface="Verdana" pitchFamily="34" charset="0"/>
              <a:cs typeface="Verdana" pitchFamily="34" charset="0"/>
            </a:endParaRPr>
          </a:p>
          <a:p>
            <a:pPr marL="628450" lvl="0" indent="-628450" defTabSz="639786">
              <a:lnSpc>
                <a:spcPts val="1020"/>
              </a:lnSpc>
              <a:spcAft>
                <a:spcPts val="0"/>
              </a:spcAft>
              <a:tabLst>
                <a:tab pos="479435" algn="r"/>
                <a:tab pos="639786" algn="l"/>
              </a:tabLst>
            </a:pPr>
            <a:r>
              <a:rPr lang="sv-SE" sz="102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450" lvl="0" indent="-628450" defTabSz="639786">
              <a:lnSpc>
                <a:spcPts val="1020"/>
              </a:lnSpc>
              <a:spcAft>
                <a:spcPts val="0"/>
              </a:spcAft>
              <a:tabLst>
                <a:tab pos="479435" algn="r"/>
                <a:tab pos="639786" algn="l"/>
              </a:tabLst>
            </a:pPr>
            <a:r>
              <a:rPr lang="sv-SE" sz="102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err="1">
                <a:ea typeface="Verdana" pitchFamily="34" charset="0"/>
                <a:cs typeface="Verdana" pitchFamily="34" charset="0"/>
              </a:rPr>
              <a:t>xxxx</a:t>
            </a:r>
            <a:endParaRPr lang="sv-SE" sz="1020"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20"/>
          </p:nvPr>
        </p:nvSpPr>
        <p:spPr>
          <a:xfrm>
            <a:off x="399564" y="1262938"/>
            <a:ext cx="11395037" cy="4292812"/>
          </a:xfrm>
        </p:spPr>
        <p:txBody>
          <a:bodyPr/>
          <a:lstStyle/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  <a:p>
            <a:pPr lvl="1"/>
            <a:r>
              <a:rPr lang="sv-SE"/>
              <a:t>Second </a:t>
            </a:r>
            <a:r>
              <a:rPr lang="sv-SE" err="1"/>
              <a:t>level</a:t>
            </a:r>
            <a:endParaRPr lang="sv-SE"/>
          </a:p>
          <a:p>
            <a:pPr lvl="2"/>
            <a:r>
              <a:rPr lang="sv-SE" err="1"/>
              <a:t>Third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3"/>
            <a:r>
              <a:rPr lang="sv-SE" err="1"/>
              <a:t>Four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4"/>
            <a:r>
              <a:rPr lang="sv-SE" err="1"/>
              <a:t>Fif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050784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977183-04BC-4D70-9AC4-C37602E2B1C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449"/>
              </a:lnSpc>
              <a:spcBef>
                <a:spcPct val="0"/>
              </a:spcBef>
              <a:spcAft>
                <a:spcPct val="0"/>
              </a:spcAft>
            </a:pPr>
            <a:endParaRPr lang="sv-SE" sz="2245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82" y="425316"/>
            <a:ext cx="8037311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r>
              <a:rPr lang="sv-SE"/>
              <a:t> sty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30583"/>
            <a:ext cx="11393620" cy="1765227"/>
          </a:xfrm>
        </p:spPr>
        <p:txBody>
          <a:bodyPr>
            <a:spAutoFit/>
          </a:bodyPr>
          <a:lstStyle>
            <a:lvl1pPr>
              <a:spcBef>
                <a:spcPts val="1837"/>
              </a:spcBef>
              <a:spcAft>
                <a:spcPts val="0"/>
              </a:spcAft>
              <a:defRPr sz="2041"/>
            </a:lvl1pPr>
            <a:lvl2pPr>
              <a:spcBef>
                <a:spcPts val="612"/>
              </a:spcBef>
              <a:spcAft>
                <a:spcPts val="0"/>
              </a:spcAft>
              <a:defRPr sz="2041"/>
            </a:lvl2pPr>
            <a:lvl3pPr>
              <a:defRPr sz="2041"/>
            </a:lvl3pPr>
            <a:lvl4pPr>
              <a:spcAft>
                <a:spcPts val="0"/>
              </a:spcAft>
              <a:defRPr sz="2041"/>
            </a:lvl4pPr>
            <a:lvl5pPr>
              <a:spcAft>
                <a:spcPts val="0"/>
              </a:spcAft>
              <a:defRPr sz="2041"/>
            </a:lvl5pPr>
          </a:lstStyle>
          <a:p>
            <a:pPr lvl="0"/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text </a:t>
            </a:r>
            <a:r>
              <a:rPr lang="sv-SE" err="1"/>
              <a:t>styles</a:t>
            </a:r>
            <a:endParaRPr lang="sv-SE"/>
          </a:p>
          <a:p>
            <a:pPr lvl="1"/>
            <a:r>
              <a:rPr lang="sv-SE"/>
              <a:t>Second </a:t>
            </a:r>
            <a:r>
              <a:rPr lang="sv-SE" err="1"/>
              <a:t>level</a:t>
            </a:r>
            <a:endParaRPr lang="sv-SE"/>
          </a:p>
          <a:p>
            <a:pPr lvl="2"/>
            <a:r>
              <a:rPr lang="sv-SE" err="1"/>
              <a:t>Third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3"/>
            <a:r>
              <a:rPr lang="sv-SE" err="1"/>
              <a:t>Four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  <a:p>
            <a:pPr lvl="4"/>
            <a:r>
              <a:rPr lang="sv-SE" err="1"/>
              <a:t>Fifth</a:t>
            </a:r>
            <a:r>
              <a:rPr lang="sv-SE"/>
              <a:t> </a:t>
            </a:r>
            <a:r>
              <a:rPr lang="sv-SE" err="1"/>
              <a:t>level</a:t>
            </a:r>
            <a:endParaRPr lang="sv-SE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2876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2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5" y="6582880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2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ARBETSMATERIAL – FÖR DISKUSSION</a:t>
            </a:r>
          </a:p>
        </p:txBody>
      </p:sp>
    </p:spTree>
    <p:extLst>
      <p:ext uri="{BB962C8B-B14F-4D97-AF65-F5344CB8AC3E}">
        <p14:creationId xmlns:p14="http://schemas.microsoft.com/office/powerpoint/2010/main" val="9238237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4736368-E8D2-4C8E-8BE1-13E153BC25E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sv-SE" sz="551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Bildobjekt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10"/>
            <a:ext cx="12439824" cy="6991078"/>
          </a:xfrm>
          <a:prstGeom prst="rect">
            <a:avLst/>
          </a:prstGeom>
        </p:spPr>
      </p:pic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298013" y="4473761"/>
            <a:ext cx="7032269" cy="314028"/>
          </a:xfrm>
        </p:spPr>
        <p:txBody>
          <a:bodyPr wrap="square">
            <a:spAutoFit/>
          </a:bodyPr>
          <a:lstStyle>
            <a:lvl1pPr>
              <a:defRPr sz="1428">
                <a:solidFill>
                  <a:schemeClr val="bg1"/>
                </a:solidFill>
              </a:defRPr>
            </a:lvl1pPr>
          </a:lstStyle>
          <a:p>
            <a:r>
              <a:rPr lang="sv-SE"/>
              <a:t>Kontext</a:t>
            </a:r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2298014" y="4755765"/>
            <a:ext cx="7038749" cy="2198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28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Datum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298014" y="2491613"/>
            <a:ext cx="7036599" cy="1695751"/>
          </a:xfrm>
        </p:spPr>
        <p:txBody>
          <a:bodyPr anchor="b" anchorCtr="0"/>
          <a:lstStyle>
            <a:lvl1pPr>
              <a:defRPr sz="551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 err="1"/>
              <a:t>Click</a:t>
            </a:r>
            <a:r>
              <a:rPr lang="sv-SE"/>
              <a:t> to </a:t>
            </a:r>
            <a:r>
              <a:rPr lang="sv-SE" err="1"/>
              <a:t>edit</a:t>
            </a:r>
            <a:r>
              <a:rPr lang="sv-SE"/>
              <a:t> master </a:t>
            </a:r>
            <a:r>
              <a:rPr lang="sv-SE" err="1"/>
              <a:t>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582427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22222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2-02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 descr="En bild som visar ritning&#10;&#10;Automatiskt genererad beskrivning">
            <a:extLst>
              <a:ext uri="{FF2B5EF4-FFF2-40B4-BE49-F238E27FC236}">
                <a16:creationId xmlns:a16="http://schemas.microsoft.com/office/drawing/2014/main" id="{DC4C474C-256C-4F69-82DB-E30D2C1C09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052" y="6211021"/>
            <a:ext cx="992904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140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öt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 descr="En bild som visar ritning&#10;&#10;Automatiskt genererad beskrivning">
            <a:extLst>
              <a:ext uri="{FF2B5EF4-FFF2-40B4-BE49-F238E27FC236}">
                <a16:creationId xmlns:a16="http://schemas.microsoft.com/office/drawing/2014/main" id="{1ADA1F9B-CCF0-4D82-A120-69E88C4989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2-02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993433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68917" y="687600"/>
            <a:ext cx="9268800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Sveriges kunskapsmyndighet för vård och omsorg 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3"/>
          </p:nvPr>
        </p:nvSpPr>
        <p:spPr>
          <a:xfrm>
            <a:off x="1068917" y="2059200"/>
            <a:ext cx="9279467" cy="3708400"/>
          </a:xfrm>
        </p:spPr>
        <p:txBody>
          <a:bodyPr/>
          <a:lstStyle>
            <a:lvl1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2600"/>
            </a:lvl1pPr>
            <a:lvl2pPr marL="0" indent="0">
              <a:buFontTx/>
              <a:buNone/>
              <a:defRPr sz="2000"/>
            </a:lvl2pPr>
            <a:lvl3pPr marL="0" indent="0">
              <a:spcAft>
                <a:spcPts val="0"/>
              </a:spcAft>
              <a:buFontTx/>
              <a:buNone/>
              <a:defRPr sz="1900" b="1"/>
            </a:lvl3pPr>
            <a:lvl4pPr marL="0" indent="0">
              <a:spcAft>
                <a:spcPts val="0"/>
              </a:spcAft>
              <a:buFontTx/>
              <a:buNone/>
              <a:defRPr sz="1600"/>
            </a:lvl4pPr>
            <a:lvl5pPr marL="0" indent="0">
              <a:spcAft>
                <a:spcPts val="0"/>
              </a:spcAft>
              <a:buFontTx/>
              <a:buNone/>
              <a:defRPr sz="160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</p:txBody>
      </p:sp>
    </p:spTree>
    <p:extLst>
      <p:ext uri="{BB962C8B-B14F-4D97-AF65-F5344CB8AC3E}">
        <p14:creationId xmlns:p14="http://schemas.microsoft.com/office/powerpoint/2010/main" val="102684680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åt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 descr="En bild som visar enhet&#10;&#10;Automatiskt genererad beskrivning">
            <a:extLst>
              <a:ext uri="{FF2B5EF4-FFF2-40B4-BE49-F238E27FC236}">
                <a16:creationId xmlns:a16="http://schemas.microsoft.com/office/drawing/2014/main" id="{F462BC7F-2338-4B3A-95AD-A880358D70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2-02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851399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ul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ritning&#10;&#10;Automatiskt genererad beskrivning">
            <a:extLst>
              <a:ext uri="{FF2B5EF4-FFF2-40B4-BE49-F238E27FC236}">
                <a16:creationId xmlns:a16="http://schemas.microsoft.com/office/drawing/2014/main" id="{F97776BC-9198-4B58-90BB-4964DF0EC1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22222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2-02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629014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var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 descr="En bild som visar ritning&#10;&#10;Automatiskt genererad beskrivning">
            <a:extLst>
              <a:ext uri="{FF2B5EF4-FFF2-40B4-BE49-F238E27FC236}">
                <a16:creationId xmlns:a16="http://schemas.microsoft.com/office/drawing/2014/main" id="{1E92A6A6-8B0A-4DE1-8142-4259EB45C9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12189291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2-02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196367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22-02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0062228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22-02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9144462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30B7FC-8DD1-423E-8EF4-94D7897E47A9}" type="datetimeFigureOut">
              <a:rPr lang="sv-SE" smtClean="0"/>
              <a:pPr/>
              <a:t>2022-02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86095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22-02-11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769970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 mö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975186"/>
            <a:ext cx="5326992" cy="1112405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975186"/>
            <a:ext cx="4172325" cy="526001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22-02-11</a:t>
            </a:fld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910197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975600"/>
            <a:ext cx="9608400" cy="1112400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22-02-11</a:t>
            </a:fld>
            <a:endParaRPr lang="sv-SE" dirty="0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3660699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22-02-11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609112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801505"/>
            <a:ext cx="12196800" cy="47928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7" y="1353267"/>
            <a:ext cx="9279467" cy="3708400"/>
          </a:xfrm>
        </p:spPr>
        <p:txBody>
          <a:bodyPr/>
          <a:lstStyle>
            <a:lvl1pPr marL="373063" indent="-373063">
              <a:spcBef>
                <a:spcPts val="1000"/>
              </a:spcBef>
              <a:buSzPct val="115000"/>
              <a:buFont typeface="Arial" pitchFamily="34" charset="0"/>
              <a:buChar char="•"/>
              <a:defRPr sz="2600">
                <a:solidFill>
                  <a:srgbClr val="FFFFFF"/>
                </a:solidFill>
              </a:defRPr>
            </a:lvl1pPr>
            <a:lvl2pPr>
              <a:defRPr sz="2000">
                <a:solidFill>
                  <a:srgbClr val="FFFFFF"/>
                </a:solidFill>
              </a:defRPr>
            </a:lvl2pPr>
            <a:lvl3pPr>
              <a:defRPr sz="1600">
                <a:solidFill>
                  <a:srgbClr val="FFFFFF"/>
                </a:solidFill>
              </a:defRPr>
            </a:lvl3pPr>
            <a:lvl4pPr>
              <a:defRPr sz="1400">
                <a:solidFill>
                  <a:srgbClr val="FFFFFF"/>
                </a:solidFill>
              </a:defRPr>
            </a:lvl4pPr>
            <a:lvl5pPr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1411043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B7FC-8DD1-423E-8EF4-94D7897E47A9}" type="datetimeFigureOut">
              <a:rPr lang="sv-SE" smtClean="0"/>
              <a:t>2022-02-11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9616302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/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911424" y="1844675"/>
            <a:ext cx="6553001" cy="3661600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4pPr>
              <a:defRPr sz="1300"/>
            </a:lvl4pPr>
          </a:lstStyle>
          <a:p>
            <a:pPr lvl="0"/>
            <a:r>
              <a:rPr lang="sv-SE" dirty="0"/>
              <a:t>Punktlista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Rubrik 3"/>
          <p:cNvSpPr>
            <a:spLocks noGrp="1"/>
          </p:cNvSpPr>
          <p:nvPr>
            <p:ph type="title" hasCustomPrompt="1"/>
          </p:nvPr>
        </p:nvSpPr>
        <p:spPr>
          <a:xfrm>
            <a:off x="911424" y="572794"/>
            <a:ext cx="9145015" cy="91199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Rubrik</a:t>
            </a:r>
          </a:p>
        </p:txBody>
      </p:sp>
      <p:pic>
        <p:nvPicPr>
          <p:cNvPr id="2" name="Bildobjekt 1" descr="Folkhälsomyndighetens logotyp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570" y="5949793"/>
            <a:ext cx="1916070" cy="64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4490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Folkhälsomyndighetens logotyp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570" y="5949793"/>
            <a:ext cx="1916070" cy="64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5298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1424" y="1922880"/>
            <a:ext cx="8534400" cy="1470025"/>
          </a:xfrm>
        </p:spPr>
        <p:txBody>
          <a:bodyPr anchor="b"/>
          <a:lstStyle>
            <a:lvl1pPr>
              <a:lnSpc>
                <a:spcPts val="4200"/>
              </a:lnSpc>
              <a:spcBef>
                <a:spcPts val="300"/>
              </a:spcBef>
              <a:spcAft>
                <a:spcPts val="600"/>
              </a:spcAft>
              <a:defRPr sz="3800" baseline="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Presentationens titel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911424" y="3526160"/>
            <a:ext cx="8534400" cy="838944"/>
          </a:xfrm>
        </p:spPr>
        <p:txBody>
          <a:bodyPr/>
          <a:lstStyle>
            <a:lvl1pPr marL="0" indent="0" algn="l">
              <a:lnSpc>
                <a:spcPts val="3000"/>
              </a:lnSpc>
              <a:spcBef>
                <a:spcPts val="600"/>
              </a:spcBef>
              <a:spcAft>
                <a:spcPts val="300"/>
              </a:spcAft>
              <a:buNone/>
              <a:defRPr sz="2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Presentatör, datum osv.</a:t>
            </a:r>
          </a:p>
        </p:txBody>
      </p:sp>
    </p:spTree>
    <p:extLst>
      <p:ext uri="{BB962C8B-B14F-4D97-AF65-F5344CB8AC3E}">
        <p14:creationId xmlns:p14="http://schemas.microsoft.com/office/powerpoint/2010/main" val="28933620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1424" y="1922880"/>
            <a:ext cx="8534400" cy="1470025"/>
          </a:xfrm>
        </p:spPr>
        <p:txBody>
          <a:bodyPr anchor="b"/>
          <a:lstStyle>
            <a:lvl1pPr>
              <a:lnSpc>
                <a:spcPts val="4200"/>
              </a:lnSpc>
              <a:spcBef>
                <a:spcPts val="300"/>
              </a:spcBef>
              <a:spcAft>
                <a:spcPts val="600"/>
              </a:spcAft>
              <a:defRPr sz="38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Presentationens titel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911424" y="3526160"/>
            <a:ext cx="8534400" cy="838944"/>
          </a:xfrm>
        </p:spPr>
        <p:txBody>
          <a:bodyPr/>
          <a:lstStyle>
            <a:lvl1pPr marL="0" indent="0" algn="l">
              <a:lnSpc>
                <a:spcPts val="3000"/>
              </a:lnSpc>
              <a:spcBef>
                <a:spcPts val="600"/>
              </a:spcBef>
              <a:spcAft>
                <a:spcPts val="300"/>
              </a:spcAft>
              <a:buNone/>
              <a:defRPr sz="2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Presentatör, datum osv.</a:t>
            </a:r>
          </a:p>
        </p:txBody>
      </p:sp>
      <p:pic>
        <p:nvPicPr>
          <p:cNvPr id="6" name="Bildobjekt 5" descr="Folkhälsomyndighetens logotyp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00" y="460800"/>
            <a:ext cx="2734527" cy="918000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154" y="23787"/>
            <a:ext cx="48887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2184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911424" y="2492896"/>
            <a:ext cx="8506104" cy="911990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apitelrubrik</a:t>
            </a:r>
          </a:p>
        </p:txBody>
      </p:sp>
      <p:pic>
        <p:nvPicPr>
          <p:cNvPr id="5" name="Bildobjekt 4" descr="Folkhälsomyndighetens logotyp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00" y="460800"/>
            <a:ext cx="2734527" cy="9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914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-09-16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9504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-09-16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86554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-09-16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236407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-09-16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6620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ast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801505"/>
            <a:ext cx="12196800" cy="479284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1068917" y="1353267"/>
            <a:ext cx="9279467" cy="3708400"/>
          </a:xfrm>
        </p:spPr>
        <p:txBody>
          <a:bodyPr/>
          <a:lstStyle>
            <a:lvl1pPr marL="373063" indent="-373063">
              <a:spcBef>
                <a:spcPts val="1000"/>
              </a:spcBef>
              <a:buSzPct val="115000"/>
              <a:buFont typeface="Arial" pitchFamily="34" charset="0"/>
              <a:buChar char="•"/>
              <a:defRPr sz="2600">
                <a:solidFill>
                  <a:srgbClr val="FFFFFF"/>
                </a:solidFill>
              </a:defRPr>
            </a:lvl1pPr>
            <a:lvl2pPr>
              <a:defRPr sz="2000">
                <a:solidFill>
                  <a:srgbClr val="FFFFFF"/>
                </a:solidFill>
              </a:defRPr>
            </a:lvl2pPr>
            <a:lvl3pPr>
              <a:defRPr sz="1600">
                <a:solidFill>
                  <a:srgbClr val="FFFFFF"/>
                </a:solidFill>
              </a:defRPr>
            </a:lvl3pPr>
            <a:lvl4pPr>
              <a:defRPr sz="1400">
                <a:solidFill>
                  <a:srgbClr val="FFFFFF"/>
                </a:solidFill>
              </a:defRPr>
            </a:lvl4pPr>
            <a:lvl5pPr>
              <a:defRPr sz="1200">
                <a:solidFill>
                  <a:srgbClr val="FFFFFF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4446511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874602"/>
            <a:ext cx="5326992" cy="122851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874602"/>
            <a:ext cx="4172325" cy="536059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-09-16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80967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875015"/>
            <a:ext cx="9608400" cy="1228105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-09-16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3819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-09-16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09480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-09-16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071748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-09-16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19966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ött avsnit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FFFFFF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/>
              <a:t>2021-09-16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0CF1DFE-83CD-4DBA-9864-1BB764A14C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16547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4400"/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666000" y="4809600"/>
            <a:ext cx="9608400" cy="1425600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-10-29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690625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-10-29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9023881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6800"/>
            <a:ext cx="9608400" cy="1965600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0" y="4810125"/>
            <a:ext cx="9608400" cy="1427163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2020-10-29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2570108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4716000" cy="3740400"/>
          </a:xfrm>
        </p:spPr>
        <p:txBody>
          <a:bodyPr/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5552325" y="2494800"/>
            <a:ext cx="4716000" cy="3740400"/>
          </a:xfrm>
        </p:spPr>
        <p:txBody>
          <a:bodyPr/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-10-29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55548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068917" y="687600"/>
            <a:ext cx="9268800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/>
          </p:nvPr>
        </p:nvSpPr>
        <p:spPr>
          <a:xfrm>
            <a:off x="5807968" y="2060206"/>
            <a:ext cx="4540416" cy="3708400"/>
          </a:xfrm>
        </p:spPr>
        <p:txBody>
          <a:bodyPr/>
          <a:lstStyle>
            <a:lvl1pPr>
              <a:spcBef>
                <a:spcPts val="800"/>
              </a:spcBef>
              <a:defRPr sz="2600" b="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 marL="927100" indent="0">
              <a:buNone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2113906"/>
            <a:ext cx="5422900" cy="3455988"/>
          </a:xfrm>
          <a:solidFill>
            <a:schemeClr val="accent4"/>
          </a:solidFill>
          <a:ln>
            <a:noFill/>
          </a:ln>
        </p:spPr>
        <p:txBody>
          <a:bodyPr lIns="180000" tIns="180000" rIns="180000" bIns="180000" anchor="ctr" anchorCtr="1"/>
          <a:lstStyle>
            <a:lvl1pPr marL="0" indent="0" algn="ctr">
              <a:buNone/>
              <a:defRPr sz="2600" b="0" i="1">
                <a:solidFill>
                  <a:srgbClr val="FFFFFF"/>
                </a:solidFill>
              </a:defRPr>
            </a:lvl1pPr>
            <a:lvl2pPr>
              <a:defRPr sz="3000" b="0" i="1">
                <a:solidFill>
                  <a:srgbClr val="E6C99B"/>
                </a:solidFill>
              </a:defRPr>
            </a:lvl2pPr>
            <a:lvl3pPr>
              <a:defRPr sz="3000" b="0" i="1">
                <a:solidFill>
                  <a:srgbClr val="E6C99B"/>
                </a:solidFill>
              </a:defRPr>
            </a:lvl3pPr>
            <a:lvl4pPr>
              <a:defRPr sz="3000" b="0" i="1">
                <a:solidFill>
                  <a:srgbClr val="E6C99B"/>
                </a:solidFill>
              </a:defRPr>
            </a:lvl4pPr>
            <a:lvl5pPr>
              <a:defRPr sz="3000" b="0" i="1">
                <a:solidFill>
                  <a:srgbClr val="E6C99B"/>
                </a:solidFill>
              </a:defRPr>
            </a:lvl5pPr>
          </a:lstStyle>
          <a:p>
            <a:pPr lvl="0"/>
            <a:r>
              <a:rPr lang="sv-SE" dirty="0"/>
              <a:t>Klicka här för att </a:t>
            </a:r>
            <a:br>
              <a:rPr lang="sv-SE" dirty="0"/>
            </a:br>
            <a:r>
              <a:rPr lang="sv-SE" dirty="0"/>
              <a:t>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06351823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Större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4" y="874602"/>
            <a:ext cx="5326992" cy="122851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6000" y="2494800"/>
            <a:ext cx="5325226" cy="3740400"/>
          </a:xfrm>
        </p:spPr>
        <p:txBody>
          <a:bodyPr/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5999" y="874602"/>
            <a:ext cx="4172325" cy="5360598"/>
          </a:xfrm>
        </p:spPr>
        <p:txBody>
          <a:bodyPr/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-10-29</a:t>
            </a:r>
            <a:endParaRPr lang="sv-SE" dirty="0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3367096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875015"/>
            <a:ext cx="9608400" cy="1228105"/>
          </a:xfrm>
        </p:spPr>
        <p:txBody>
          <a:bodyPr>
            <a:noAutofit/>
          </a:bodyPr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6001" y="2162175"/>
            <a:ext cx="47160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66000" y="2845950"/>
            <a:ext cx="4716000" cy="3391337"/>
          </a:xfrm>
        </p:spPr>
        <p:txBody>
          <a:bodyPr>
            <a:noAutofit/>
          </a:bodyPr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5551200" y="2162175"/>
            <a:ext cx="4723200" cy="60960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5551200" y="2847600"/>
            <a:ext cx="4716000" cy="3391200"/>
          </a:xfrm>
        </p:spPr>
        <p:txBody>
          <a:bodyPr>
            <a:noAutofit/>
          </a:bodyPr>
          <a:lstStyle>
            <a:lvl1pPr marL="258763" indent="-228600">
              <a:buFont typeface="Wingdings" panose="05000000000000000000" pitchFamily="2" charset="2"/>
              <a:buChar char="§"/>
              <a:defRPr/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-10-29</a:t>
            </a:r>
            <a:endParaRPr lang="sv-SE" dirty="0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279606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-10-29</a:t>
            </a:r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0455736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-10-29</a:t>
            </a:r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178668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-10-29</a:t>
            </a:r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715677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45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3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7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6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3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90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071792" y="686594"/>
            <a:ext cx="9268800" cy="12961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068918" y="2057400"/>
            <a:ext cx="9268485" cy="36951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9896121" y="6295896"/>
            <a:ext cx="1536170" cy="26723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753728" y="6295894"/>
            <a:ext cx="5400000" cy="26723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sv-SE"/>
              <a:t>Sveriges kunskapsmyndighet för vård och omsorg 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1211984" y="6295895"/>
            <a:ext cx="576725" cy="26723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3A1DABF-CD59-47A1-8187-10F3203EF599}" type="slidenum">
              <a:rPr lang="sv-SE" smtClean="0"/>
              <a:pPr/>
              <a:t>‹#›</a:t>
            </a:fld>
            <a:endParaRPr lang="sv-SE" dirty="0"/>
          </a:p>
        </p:txBody>
      </p:sp>
      <p:cxnSp>
        <p:nvCxnSpPr>
          <p:cNvPr id="9" name="Rak 8"/>
          <p:cNvCxnSpPr/>
          <p:nvPr/>
        </p:nvCxnSpPr>
        <p:spPr>
          <a:xfrm>
            <a:off x="-483079" y="5652398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ak 10"/>
          <p:cNvCxnSpPr/>
          <p:nvPr/>
        </p:nvCxnSpPr>
        <p:spPr>
          <a:xfrm>
            <a:off x="-483079" y="6195324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ak 11"/>
          <p:cNvCxnSpPr/>
          <p:nvPr/>
        </p:nvCxnSpPr>
        <p:spPr>
          <a:xfrm>
            <a:off x="-483079" y="2120322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ak 12"/>
          <p:cNvCxnSpPr/>
          <p:nvPr/>
        </p:nvCxnSpPr>
        <p:spPr>
          <a:xfrm>
            <a:off x="-483079" y="702175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ak 13"/>
          <p:cNvCxnSpPr/>
          <p:nvPr/>
        </p:nvCxnSpPr>
        <p:spPr>
          <a:xfrm>
            <a:off x="12353029" y="5652398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14"/>
          <p:cNvCxnSpPr/>
          <p:nvPr/>
        </p:nvCxnSpPr>
        <p:spPr>
          <a:xfrm>
            <a:off x="12353029" y="6195324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ak 15"/>
          <p:cNvCxnSpPr/>
          <p:nvPr/>
        </p:nvCxnSpPr>
        <p:spPr>
          <a:xfrm>
            <a:off x="12353029" y="2120322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ak 16"/>
          <p:cNvCxnSpPr/>
          <p:nvPr/>
        </p:nvCxnSpPr>
        <p:spPr>
          <a:xfrm>
            <a:off x="12353029" y="702175"/>
            <a:ext cx="333555" cy="0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ak 17"/>
          <p:cNvCxnSpPr/>
          <p:nvPr/>
        </p:nvCxnSpPr>
        <p:spPr>
          <a:xfrm flipV="1">
            <a:off x="1070115" y="-229676"/>
            <a:ext cx="0" cy="138022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18"/>
          <p:cNvCxnSpPr/>
          <p:nvPr/>
        </p:nvCxnSpPr>
        <p:spPr>
          <a:xfrm flipV="1">
            <a:off x="10335684" y="-229676"/>
            <a:ext cx="0" cy="138022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ak 19"/>
          <p:cNvCxnSpPr/>
          <p:nvPr/>
        </p:nvCxnSpPr>
        <p:spPr>
          <a:xfrm flipV="1">
            <a:off x="1070115" y="6923599"/>
            <a:ext cx="0" cy="138022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ak 20"/>
          <p:cNvCxnSpPr/>
          <p:nvPr/>
        </p:nvCxnSpPr>
        <p:spPr>
          <a:xfrm flipV="1">
            <a:off x="10335684" y="6923599"/>
            <a:ext cx="0" cy="138022"/>
          </a:xfrm>
          <a:prstGeom prst="line">
            <a:avLst/>
          </a:prstGeom>
          <a:ln>
            <a:solidFill>
              <a:srgbClr val="0026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Bildobjekt 22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97" y="6210000"/>
            <a:ext cx="1396800" cy="293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309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99" r:id="rId3"/>
    <p:sldLayoutId id="2147483650" r:id="rId4"/>
    <p:sldLayoutId id="2147483665" r:id="rId5"/>
    <p:sldLayoutId id="2147483661" r:id="rId6"/>
    <p:sldLayoutId id="2147483662" r:id="rId7"/>
    <p:sldLayoutId id="2147483700" r:id="rId8"/>
    <p:sldLayoutId id="2147483663" r:id="rId9"/>
    <p:sldLayoutId id="2147483664" r:id="rId10"/>
    <p:sldLayoutId id="2147483703" r:id="rId11"/>
    <p:sldLayoutId id="2147483702" r:id="rId12"/>
    <p:sldLayoutId id="2147483704" r:id="rId13"/>
    <p:sldLayoutId id="2147483667" r:id="rId14"/>
    <p:sldLayoutId id="2147483705" r:id="rId15"/>
    <p:sldLayoutId id="2147483670" r:id="rId16"/>
    <p:sldLayoutId id="2147483668" r:id="rId17"/>
    <p:sldLayoutId id="2147483707" r:id="rId18"/>
    <p:sldLayoutId id="2147483706" r:id="rId19"/>
    <p:sldLayoutId id="2147483708" r:id="rId20"/>
    <p:sldLayoutId id="2147483709" r:id="rId21"/>
    <p:sldLayoutId id="2147483666" r:id="rId22"/>
    <p:sldLayoutId id="2147483669" r:id="rId23"/>
    <p:sldLayoutId id="2147483655" r:id="rId24"/>
    <p:sldLayoutId id="2147483654" r:id="rId25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3400" b="1" kern="120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71463" indent="-271463" algn="l" defTabSz="914400" rtl="0" eaLnBrk="1" latinLnBrk="0" hangingPunct="1">
        <a:spcBef>
          <a:spcPts val="1900"/>
        </a:spcBef>
        <a:spcAft>
          <a:spcPts val="800"/>
        </a:spcAft>
        <a:buSzPct val="115000"/>
        <a:buFont typeface="Century Gothic" pitchFamily="34" charset="0"/>
        <a:buChar char="•"/>
        <a:defRPr sz="1900" b="1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20700" indent="-234950" algn="l" defTabSz="91440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900" b="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11200" indent="-171450" algn="l" defTabSz="91440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•"/>
        <a:defRPr sz="1600" b="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20750" indent="-196850" algn="l" defTabSz="91440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–"/>
        <a:defRPr sz="1400" b="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3150" indent="-146050" algn="l" defTabSz="914400" rtl="0" eaLnBrk="1" latinLnBrk="0" hangingPunct="1">
        <a:spcBef>
          <a:spcPts val="0"/>
        </a:spcBef>
        <a:spcAft>
          <a:spcPts val="800"/>
        </a:spcAft>
        <a:buFont typeface="Arial" pitchFamily="34" charset="0"/>
        <a:buChar char="•"/>
        <a:defRPr sz="1200" b="0" kern="120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01E141CC-09B0-40DE-8689-3F3B027583F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975186"/>
            <a:ext cx="9609825" cy="111240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8020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2021-02-23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8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9D313CB-B299-4B54-9048-6B0D8EFD9D3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sv-SE" sz="4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5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4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4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200">
                <a:solidFill>
                  <a:schemeClr val="tx1"/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51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RBETSMATERIAL – FÖR DISKUSSIO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5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92959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</p:sldLayoutIdLst>
  <p:hf sldNum="0" hdr="0" ftr="0" dt="0"/>
  <p:txStyles>
    <p:titleStyle>
      <a:lvl1pPr algn="l" defTabSz="914393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1" indent="-228598" algn="l" defTabSz="914393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6" indent="-228598" algn="l" defTabSz="914393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0" indent="-228598" algn="l" defTabSz="914393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8" indent="-228598" algn="l" defTabSz="914393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4" indent="-228598" algn="l" defTabSz="914393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80" indent="-228598" algn="l" defTabSz="91439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6" indent="-228598" algn="l" defTabSz="91439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72" indent="-228598" algn="l" defTabSz="91439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0" indent="-228598" algn="l" defTabSz="91439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3" algn="l" defTabSz="9143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8" algn="l" defTabSz="9143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6" algn="l" defTabSz="9143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2" algn="l" defTabSz="9143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9" algn="l" defTabSz="9143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4" algn="l" defTabSz="9143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1" algn="l" defTabSz="91439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2-02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BCD0A87E-FE0C-48EC-96E1-F6EBC1D60EB4}"/>
              </a:ext>
            </a:extLst>
          </p:cNvPr>
          <p:cNvGrpSpPr/>
          <p:nvPr userDrawn="1"/>
        </p:nvGrpSpPr>
        <p:grpSpPr>
          <a:xfrm>
            <a:off x="9575321" y="4632388"/>
            <a:ext cx="2624600" cy="2234238"/>
            <a:chOff x="9575321" y="4632388"/>
            <a:chExt cx="2624600" cy="2234238"/>
          </a:xfrm>
        </p:grpSpPr>
        <p:grpSp>
          <p:nvGrpSpPr>
            <p:cNvPr id="11" name="Grupp 10">
              <a:extLst>
                <a:ext uri="{FF2B5EF4-FFF2-40B4-BE49-F238E27FC236}">
                  <a16:creationId xmlns:a16="http://schemas.microsoft.com/office/drawing/2014/main" id="{ACA10481-D63E-4AC3-9AE2-AFE237E53EE2}"/>
                </a:ext>
              </a:extLst>
            </p:cNvPr>
            <p:cNvGrpSpPr/>
            <p:nvPr userDrawn="1"/>
          </p:nvGrpSpPr>
          <p:grpSpPr>
            <a:xfrm>
              <a:off x="9575321" y="4632388"/>
              <a:ext cx="2624600" cy="2234238"/>
              <a:chOff x="9575321" y="4632388"/>
              <a:chExt cx="2624600" cy="2234238"/>
            </a:xfrm>
          </p:grpSpPr>
          <p:pic>
            <p:nvPicPr>
              <p:cNvPr id="9" name="Bildobjekt 8">
                <a:extLst>
                  <a:ext uri="{FF2B5EF4-FFF2-40B4-BE49-F238E27FC236}">
                    <a16:creationId xmlns:a16="http://schemas.microsoft.com/office/drawing/2014/main" id="{202610F5-2FAD-47F3-9DA3-0B09A2D86B1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400000">
                <a:off x="9770502" y="4437207"/>
                <a:ext cx="2234238" cy="2624600"/>
              </a:xfrm>
              <a:prstGeom prst="rect">
                <a:avLst/>
              </a:prstGeom>
            </p:spPr>
          </p:pic>
          <p:sp>
            <p:nvSpPr>
              <p:cNvPr id="7" name="Rektangel 6">
                <a:extLst>
                  <a:ext uri="{FF2B5EF4-FFF2-40B4-BE49-F238E27FC236}">
                    <a16:creationId xmlns:a16="http://schemas.microsoft.com/office/drawing/2014/main" id="{62880465-B287-44D9-987F-54B252C2CEC4}"/>
                  </a:ext>
                </a:extLst>
              </p:cNvPr>
              <p:cNvSpPr/>
              <p:nvPr userDrawn="1"/>
            </p:nvSpPr>
            <p:spPr>
              <a:xfrm>
                <a:off x="11527768" y="5607170"/>
                <a:ext cx="428443" cy="98341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/>
              </a:p>
            </p:txBody>
          </p:sp>
        </p:grpSp>
        <p:pic>
          <p:nvPicPr>
            <p:cNvPr id="8" name="Bildobjekt 7" descr="En bild som visar ritning&#10;&#10;Automatiskt genererad beskrivning">
              <a:extLst>
                <a:ext uri="{FF2B5EF4-FFF2-40B4-BE49-F238E27FC236}">
                  <a16:creationId xmlns:a16="http://schemas.microsoft.com/office/drawing/2014/main" id="{05E2CB7E-A3C4-4B87-A60A-A968FF73A4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90052" y="6211021"/>
              <a:ext cx="966160" cy="3993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22714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</p:sldLayoutIdLst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1800" kern="1200">
          <a:solidFill>
            <a:srgbClr val="FFFFFF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01E141CC-09B0-40DE-8689-3F3B027583F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975186"/>
            <a:ext cx="9609825" cy="111240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D230B7FC-8DD1-423E-8EF4-94D7897E47A9}" type="datetimeFigureOut">
              <a:rPr lang="sv-SE" smtClean="0"/>
              <a:pPr/>
              <a:t>2022-02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A89D212-3966-4D00-A59B-EFC19ACC4594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51761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911424" y="572794"/>
            <a:ext cx="8506104" cy="91199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sv-SE" dirty="0"/>
              <a:t>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911426" y="1844675"/>
            <a:ext cx="6553000" cy="35290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Punktlista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442512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</p:sldLayoutIdLst>
  <p:hf sldNum="0" hdr="0" ftr="0" dt="0"/>
  <p:txStyles>
    <p:titleStyle>
      <a:lvl1pPr algn="l" defTabSz="914400" rtl="0" eaLnBrk="1" latinLnBrk="0" hangingPunct="1">
        <a:lnSpc>
          <a:spcPts val="34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ts val="2500"/>
        </a:lnSpc>
        <a:spcBef>
          <a:spcPts val="1000"/>
        </a:spcBef>
        <a:spcAft>
          <a:spcPts val="300"/>
        </a:spcAft>
        <a:buFont typeface="Tahoma" panose="020B0604030504040204" pitchFamily="34" charset="0"/>
        <a:buChar char="•"/>
        <a:tabLst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ts val="2100"/>
        </a:lnSpc>
        <a:spcBef>
          <a:spcPts val="500"/>
        </a:spcBef>
        <a:spcAft>
          <a:spcPts val="200"/>
        </a:spcAft>
        <a:buFont typeface="Arial" panose="020B0604020202020204" pitchFamily="34" charset="0"/>
        <a:buChar char="–"/>
        <a:tabLst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ts val="1900"/>
        </a:lnSpc>
        <a:spcBef>
          <a:spcPts val="400"/>
        </a:spcBef>
        <a:spcAft>
          <a:spcPts val="200"/>
        </a:spcAft>
        <a:buFont typeface="Arial" panose="020B0604020202020204" pitchFamily="34" charset="0"/>
        <a:buChar char="•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ts val="2300"/>
        </a:lnSpc>
        <a:spcBef>
          <a:spcPts val="0"/>
        </a:spcBef>
        <a:buFont typeface="Tahoma" panose="020B060403050404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ts val="2300"/>
        </a:lnSpc>
        <a:spcBef>
          <a:spcPts val="0"/>
        </a:spcBef>
        <a:buFont typeface="Tahoma" panose="020B060403050404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ts val="2300"/>
        </a:lnSpc>
        <a:spcBef>
          <a:spcPts val="0"/>
        </a:spcBef>
        <a:buFont typeface="Tahoma" panose="020B060403050404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ts val="2300"/>
        </a:lnSpc>
        <a:spcBef>
          <a:spcPts val="0"/>
        </a:spcBef>
        <a:buFont typeface="Tahoma" panose="020B060403050404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ts val="2300"/>
        </a:lnSpc>
        <a:spcBef>
          <a:spcPts val="0"/>
        </a:spcBef>
        <a:buFont typeface="Tahoma" panose="020B060403050404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ts val="2300"/>
        </a:lnSpc>
        <a:spcBef>
          <a:spcPts val="0"/>
        </a:spcBef>
        <a:buFont typeface="Tahoma" panose="020B060403050404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1162">
          <p15:clr>
            <a:srgbClr val="F26B43"/>
          </p15:clr>
        </p15:guide>
        <p15:guide id="1" pos="4702">
          <p15:clr>
            <a:srgbClr val="F26B43"/>
          </p15:clr>
        </p15:guide>
        <p15:guide id="2" pos="574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orient="horz" pos="3395">
          <p15:clr>
            <a:srgbClr val="F26B43"/>
          </p15:clr>
        </p15:guide>
        <p15:guide id="5" pos="711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1-09-16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1667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88DC57B8-96C9-401F-BEB2-987CD6ADD88C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64233" y="874602"/>
            <a:ext cx="9609825" cy="123139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64232" y="2495203"/>
            <a:ext cx="9609825" cy="37385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2020-10-29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7260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</p:sldLayoutIdLst>
  <p:hf sldNum="0"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3.xml"/><Relationship Id="rId4" Type="http://schemas.openxmlformats.org/officeDocument/2006/relationships/hyperlink" Target="https://www.folkhalsomyndigheten.se/livsvillkor-levnadsvanor/psykisk-halsa-och-suicidprevention/psykisk-halsa/nationell-strategi/underlag-till-strategin/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mikael.malm@skr.se" TargetMode="External"/><Relationship Id="rId7" Type="http://schemas.openxmlformats.org/officeDocument/2006/relationships/image" Target="../media/image3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7.xml"/><Relationship Id="rId6" Type="http://schemas.openxmlformats.org/officeDocument/2006/relationships/hyperlink" Target="https://skr.se/skr/integrationsocialomsorg/socialomsorg/missbrukochberoende.1165.html" TargetMode="External"/><Relationship Id="rId5" Type="http://schemas.openxmlformats.org/officeDocument/2006/relationships/hyperlink" Target="https://www.uppdragpsykiskhalsa.se/" TargetMode="External"/><Relationship Id="rId4" Type="http://schemas.openxmlformats.org/officeDocument/2006/relationships/hyperlink" Target="https://skr.se/skr/halsasjukvard/utvecklingavverksamhet/psykiskhalsa.441.html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skr.se/skr/halsasjukvard/overenskommelsermellanskrochregeringen.1463.html" TargetMode="External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8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hyperlink" Target="https://www.regeringen.se/rattsliga-dokument/kommittedirektiv/2020/06/dir.-202068/" TargetMode="External"/><Relationship Id="rId1" Type="http://schemas.openxmlformats.org/officeDocument/2006/relationships/slideLayout" Target="../slideLayouts/slideLayout87.xml"/><Relationship Id="rId4" Type="http://schemas.openxmlformats.org/officeDocument/2006/relationships/hyperlink" Target="https://www.regeringen.se/4ad4d1/contentassets/28394e4d03594dd5880aac2214a3efa7/sou-2021_93-webb.pdf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egeringen.se/4aab0e/contentassets/54121979287046e99aec293489054c1e/tillaggsdirektiv-till-samsjuklighetsutredningen-dir.-202196.pdf" TargetMode="External"/><Relationship Id="rId1" Type="http://schemas.openxmlformats.org/officeDocument/2006/relationships/slideLayout" Target="../slideLayouts/slideLayout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ubrik 14">
            <a:extLst>
              <a:ext uri="{FF2B5EF4-FFF2-40B4-BE49-F238E27FC236}">
                <a16:creationId xmlns:a16="http://schemas.microsoft.com/office/drawing/2014/main" id="{A01F214A-1355-4171-BA76-C6EB1CB43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800" y="1795464"/>
            <a:ext cx="9608400" cy="3287076"/>
          </a:xfrm>
        </p:spPr>
        <p:txBody>
          <a:bodyPr/>
          <a:lstStyle/>
          <a:p>
            <a:r>
              <a:rPr lang="sv-SE" dirty="0"/>
              <a:t>Länskonferens Värmland Psykisk hälsa </a:t>
            </a:r>
            <a:br>
              <a:rPr lang="sv-SE" dirty="0"/>
            </a:br>
            <a:r>
              <a:rPr lang="sv-SE" dirty="0"/>
              <a:t>11 februari 2022</a:t>
            </a:r>
            <a:br>
              <a:rPr lang="sv-SE" dirty="0"/>
            </a:br>
            <a:r>
              <a:rPr lang="sv-SE" sz="2400" dirty="0"/>
              <a:t>Mikael Malm, SKR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239982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345D920-A9E7-4F99-AC32-0B69E64FE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33" y="531702"/>
            <a:ext cx="10518117" cy="1231392"/>
          </a:xfrm>
        </p:spPr>
        <p:txBody>
          <a:bodyPr/>
          <a:lstStyle/>
          <a:p>
            <a:r>
              <a:rPr lang="sv-SE" dirty="0"/>
              <a:t>Remisskonferens 17 mars 13.00-16.00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4EA594F-E74F-4468-8907-552F2C9C52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2-11</a:t>
            </a:r>
            <a:endParaRPr lang="sv-SE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9ECBA0B5-3D4C-40BE-BF30-02A3556BF4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8546" y="1524000"/>
            <a:ext cx="3019441" cy="426578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7" name="Platshållare för sidfot 6">
            <a:extLst>
              <a:ext uri="{FF2B5EF4-FFF2-40B4-BE49-F238E27FC236}">
                <a16:creationId xmlns:a16="http://schemas.microsoft.com/office/drawing/2014/main" id="{9C3D7601-C43F-4372-BC4D-1E6F284DB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3C6DA1FF-1F34-4904-B972-656489A80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10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54369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9B582A8B-D4F5-412F-A4DA-C5469E3D6D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473" y="692697"/>
            <a:ext cx="11204890" cy="5415184"/>
          </a:xfrm>
          <a:prstGeom prst="rect">
            <a:avLst/>
          </a:prstGeom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600" y="994537"/>
            <a:ext cx="2520280" cy="521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2545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983432" y="188640"/>
            <a:ext cx="9145015" cy="911990"/>
          </a:xfrm>
        </p:spPr>
        <p:txBody>
          <a:bodyPr/>
          <a:lstStyle/>
          <a:p>
            <a:r>
              <a:rPr lang="sv-SE" dirty="0"/>
              <a:t>Bakgrund</a:t>
            </a:r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7528" y="1316132"/>
            <a:ext cx="3944463" cy="4462351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72064" y="1268760"/>
            <a:ext cx="4581598" cy="4557097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865428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ktangel med rundade hörn 20"/>
          <p:cNvSpPr/>
          <p:nvPr/>
        </p:nvSpPr>
        <p:spPr>
          <a:xfrm>
            <a:off x="7320136" y="1772816"/>
            <a:ext cx="2952328" cy="4104456"/>
          </a:xfrm>
          <a:prstGeom prst="roundRect">
            <a:avLst>
              <a:gd name="adj" fmla="val 6741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8" name="Rektangel med rundade hörn 17"/>
          <p:cNvSpPr/>
          <p:nvPr/>
        </p:nvSpPr>
        <p:spPr>
          <a:xfrm>
            <a:off x="4113316" y="1772816"/>
            <a:ext cx="2952328" cy="4104456"/>
          </a:xfrm>
          <a:prstGeom prst="roundRect">
            <a:avLst>
              <a:gd name="adj" fmla="val 6741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" name="Rektangel med rundade hörn 12"/>
          <p:cNvSpPr/>
          <p:nvPr/>
        </p:nvSpPr>
        <p:spPr>
          <a:xfrm>
            <a:off x="911424" y="1772816"/>
            <a:ext cx="2952328" cy="4104456"/>
          </a:xfrm>
          <a:prstGeom prst="roundRect">
            <a:avLst>
              <a:gd name="adj" fmla="val 6741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ppdragets innehåll</a:t>
            </a:r>
          </a:p>
        </p:txBody>
      </p:sp>
      <p:sp>
        <p:nvSpPr>
          <p:cNvPr id="10" name="Rektangel 9"/>
          <p:cNvSpPr/>
          <p:nvPr/>
        </p:nvSpPr>
        <p:spPr>
          <a:xfrm>
            <a:off x="1199456" y="2922623"/>
            <a:ext cx="2448272" cy="21005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Lyfta prioriterade områden att ingå. </a:t>
            </a:r>
            <a:b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nalysera målgrupper som berör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eka på utvecklings-områden inom den egna verksamheten.</a:t>
            </a:r>
          </a:p>
        </p:txBody>
      </p:sp>
      <p:sp>
        <p:nvSpPr>
          <p:cNvPr id="11" name="Rektangel 10"/>
          <p:cNvSpPr/>
          <p:nvPr/>
        </p:nvSpPr>
        <p:spPr>
          <a:xfrm>
            <a:off x="4373970" y="2922623"/>
            <a:ext cx="261595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ocialstyrelsen och Folkhälsomyndigheten </a:t>
            </a:r>
            <a:b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 samråd med övriga myndigheter och intressenter.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" name="Rektangel 11"/>
          <p:cNvSpPr/>
          <p:nvPr/>
        </p:nvSpPr>
        <p:spPr>
          <a:xfrm>
            <a:off x="7537937" y="2868367"/>
            <a:ext cx="2740708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ål och prioriteringar </a:t>
            </a:r>
            <a:b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å 5-10 års sikt.</a:t>
            </a:r>
            <a:b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dikatorer för uppföljning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örvaltning och administration.</a:t>
            </a:r>
            <a:b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endParaRPr kumimoji="0" lang="sv-SE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ur myndigheterna kan stödja genomförandet och uppföljningen av strategin.</a:t>
            </a:r>
          </a:p>
        </p:txBody>
      </p:sp>
      <p:sp>
        <p:nvSpPr>
          <p:cNvPr id="16" name="Rektangel 15"/>
          <p:cNvSpPr/>
          <p:nvPr/>
        </p:nvSpPr>
        <p:spPr>
          <a:xfrm>
            <a:off x="1199456" y="2224609"/>
            <a:ext cx="22076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Underlag från 25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yndigheter</a:t>
            </a:r>
          </a:p>
        </p:txBody>
      </p:sp>
      <p:sp>
        <p:nvSpPr>
          <p:cNvPr id="17" name="Rektangel 16"/>
          <p:cNvSpPr/>
          <p:nvPr/>
        </p:nvSpPr>
        <p:spPr>
          <a:xfrm>
            <a:off x="1184067" y="1916832"/>
            <a:ext cx="12474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65AC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 sept 2021</a:t>
            </a: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rgbClr val="0065AC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9" name="Rektangel 18"/>
          <p:cNvSpPr/>
          <p:nvPr/>
        </p:nvSpPr>
        <p:spPr>
          <a:xfrm>
            <a:off x="4380103" y="2224609"/>
            <a:ext cx="26837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lan för det fortsatta </a:t>
            </a:r>
            <a:b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genomförandet</a:t>
            </a:r>
          </a:p>
        </p:txBody>
      </p:sp>
      <p:sp>
        <p:nvSpPr>
          <p:cNvPr id="20" name="Rektangel 19"/>
          <p:cNvSpPr/>
          <p:nvPr/>
        </p:nvSpPr>
        <p:spPr>
          <a:xfrm>
            <a:off x="4378310" y="1916832"/>
            <a:ext cx="12875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65AC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1 dec 2021</a:t>
            </a: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rgbClr val="0065AC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2" name="Rektangel 21"/>
          <p:cNvSpPr/>
          <p:nvPr/>
        </p:nvSpPr>
        <p:spPr>
          <a:xfrm>
            <a:off x="7537736" y="2224609"/>
            <a:ext cx="253466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Förslag på nationell </a:t>
            </a:r>
            <a:b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strategi</a:t>
            </a:r>
          </a:p>
        </p:txBody>
      </p:sp>
      <p:sp>
        <p:nvSpPr>
          <p:cNvPr id="23" name="Rektangel 22"/>
          <p:cNvSpPr/>
          <p:nvPr/>
        </p:nvSpPr>
        <p:spPr>
          <a:xfrm>
            <a:off x="7531555" y="1916831"/>
            <a:ext cx="12474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65AC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 sept 2023</a:t>
            </a: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rgbClr val="0065AC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4" name="Likbent triangel 23"/>
          <p:cNvSpPr/>
          <p:nvPr/>
        </p:nvSpPr>
        <p:spPr>
          <a:xfrm rot="5400000">
            <a:off x="3655636" y="4937577"/>
            <a:ext cx="771544" cy="665124"/>
          </a:xfrm>
          <a:prstGeom prst="triangle">
            <a:avLst/>
          </a:pr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5" name="Likbent triangel 24"/>
          <p:cNvSpPr/>
          <p:nvPr/>
        </p:nvSpPr>
        <p:spPr>
          <a:xfrm rot="5400000">
            <a:off x="6844436" y="4937577"/>
            <a:ext cx="771544" cy="665124"/>
          </a:xfrm>
          <a:prstGeom prst="triangle">
            <a:avLst/>
          </a:prstGeom>
          <a:solidFill>
            <a:srgbClr val="009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94589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C29D80BB-37C6-4F4F-AA46-41D355221D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587" y="212602"/>
            <a:ext cx="11934825" cy="6432795"/>
          </a:xfrm>
          <a:prstGeom prst="rect">
            <a:avLst/>
          </a:prstGeom>
        </p:spPr>
      </p:pic>
      <p:pic>
        <p:nvPicPr>
          <p:cNvPr id="4" name="Bildobjekt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0625" y="451612"/>
            <a:ext cx="2520280" cy="521309"/>
          </a:xfrm>
          <a:prstGeom prst="rect">
            <a:avLst/>
          </a:prstGeom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51146AED-FB1C-4746-A4F3-4B2D46AF1877}"/>
              </a:ext>
            </a:extLst>
          </p:cNvPr>
          <p:cNvSpPr txBox="1"/>
          <p:nvPr/>
        </p:nvSpPr>
        <p:spPr>
          <a:xfrm>
            <a:off x="9172576" y="2733675"/>
            <a:ext cx="25527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/>
              <a:t>&gt;&gt; </a:t>
            </a:r>
            <a:r>
              <a:rPr lang="sv-SE" sz="1400" dirty="0">
                <a:hlinkClick r:id="rId4"/>
              </a:rPr>
              <a:t>Länk till mer information</a:t>
            </a:r>
            <a:endParaRPr lang="sv-SE" sz="1400" dirty="0"/>
          </a:p>
        </p:txBody>
      </p:sp>
    </p:spTree>
    <p:extLst>
      <p:ext uri="{BB962C8B-B14F-4D97-AF65-F5344CB8AC3E}">
        <p14:creationId xmlns:p14="http://schemas.microsoft.com/office/powerpoint/2010/main" val="11212314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2BEE5A93-7445-4AD7-B3A8-2BB7ED1AA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uläget kring uppdraget 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531F92E1-FB2E-43AE-A599-D4B7146DF7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4232" y="2085628"/>
            <a:ext cx="7037379" cy="3738598"/>
          </a:xfrm>
        </p:spPr>
        <p:txBody>
          <a:bodyPr/>
          <a:lstStyle/>
          <a:p>
            <a:r>
              <a:rPr lang="sv-SE" sz="2000" dirty="0"/>
              <a:t>Socialstyrelsen och Folkhälsomyndigheten håller på med att sammanställa underlaget från alla myndigheter. </a:t>
            </a:r>
          </a:p>
          <a:p>
            <a:r>
              <a:rPr lang="sv-SE" sz="2000" dirty="0"/>
              <a:t>De har inlett ett delprojekt att samla in och sammanställa kommuner och regioners perspektiv på utvecklingsbehov inom området. </a:t>
            </a:r>
          </a:p>
          <a:p>
            <a:r>
              <a:rPr lang="sv-SE" sz="2000" dirty="0"/>
              <a:t>De kommer att först inventera vad som redan är känt kring kommuner regionens önskade utvecklingsbehov.</a:t>
            </a:r>
          </a:p>
          <a:p>
            <a:r>
              <a:rPr lang="sv-SE" sz="2000" dirty="0"/>
              <a:t>Därefter kommer de att i samråd med bl.a. SKR förstå på vilket sätt de  bäst kan samla in och validera regioners och kommuners syn på utvecklingsbehov.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C27BC494-8D79-4D63-A3D1-DC1628187B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1611" y="1901778"/>
            <a:ext cx="3988081" cy="214883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C2BCDB38-2AEC-48F8-BE1A-003D8F3B5D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2-11</a:t>
            </a:r>
            <a:endParaRPr lang="sv-SE" dirty="0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363A80E8-2BC9-42A6-A9F4-48A723CB1C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5E560A0-541E-47C7-93EB-9ED23A0E66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15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503295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ontak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0163" indent="0">
              <a:buNone/>
            </a:pPr>
            <a:r>
              <a:rPr lang="sv-SE" sz="2000" b="1" dirty="0"/>
              <a:t>Mikael Malm</a:t>
            </a:r>
            <a:r>
              <a:rPr lang="sv-SE" sz="2000" dirty="0"/>
              <a:t>, handläggare, 08-452 78 31</a:t>
            </a:r>
            <a:br>
              <a:rPr lang="sv-SE" sz="2000" dirty="0"/>
            </a:br>
            <a:r>
              <a:rPr lang="sv-SE" sz="2000" dirty="0">
                <a:hlinkClick r:id="rId3"/>
              </a:rPr>
              <a:t>mikael.malm@skr.se</a:t>
            </a:r>
            <a:endParaRPr lang="sv-SE" sz="2000" dirty="0"/>
          </a:p>
          <a:p>
            <a:pPr marL="30163" indent="0">
              <a:buNone/>
            </a:pPr>
            <a:r>
              <a:rPr lang="sv-SE" sz="2000" dirty="0"/>
              <a:t>För mer information se:</a:t>
            </a:r>
          </a:p>
          <a:p>
            <a:pPr marL="30163" indent="0">
              <a:buNone/>
            </a:pPr>
            <a:r>
              <a:rPr lang="sv-SE" sz="1600" dirty="0"/>
              <a:t>&gt;&gt; </a:t>
            </a:r>
            <a:r>
              <a:rPr lang="sv-SE" sz="1600" dirty="0">
                <a:hlinkClick r:id="rId4"/>
              </a:rPr>
              <a:t>Psykisk Hälsa SKR</a:t>
            </a:r>
            <a:endParaRPr lang="sv-SE" sz="1600" dirty="0"/>
          </a:p>
          <a:p>
            <a:pPr marL="30163" indent="0">
              <a:buNone/>
            </a:pPr>
            <a:r>
              <a:rPr lang="sv-SE" sz="1600" dirty="0"/>
              <a:t>&gt;&gt; </a:t>
            </a:r>
            <a:r>
              <a:rPr lang="sv-SE" sz="1600" dirty="0">
                <a:hlinkClick r:id="rId5"/>
              </a:rPr>
              <a:t>Uppdrag Psykisk Hälsa</a:t>
            </a:r>
            <a:endParaRPr lang="sv-SE" sz="1600" dirty="0"/>
          </a:p>
          <a:p>
            <a:pPr marL="30163" indent="0">
              <a:buNone/>
            </a:pPr>
            <a:r>
              <a:rPr lang="sv-SE" sz="1600" dirty="0"/>
              <a:t>&gt;&gt; </a:t>
            </a:r>
            <a:r>
              <a:rPr lang="sv-SE" sz="1600" dirty="0">
                <a:hlinkClick r:id="rId6"/>
              </a:rPr>
              <a:t>Missbruk och beroende SKR</a:t>
            </a:r>
            <a:endParaRPr lang="sv-SE" sz="1600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-02-11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10" t="-1158" r="-1303" b="1158"/>
          <a:stretch/>
        </p:blipFill>
        <p:spPr>
          <a:xfrm>
            <a:off x="6142499" y="1757327"/>
            <a:ext cx="4520796" cy="38185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Platshållare för bild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BAD975-63FF-4468-AC34-025F73E043F9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91551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7"/>
          <p:cNvSpPr>
            <a:spLocks noGrp="1"/>
          </p:cNvSpPr>
          <p:nvPr>
            <p:ph type="title"/>
          </p:nvPr>
        </p:nvSpPr>
        <p:spPr>
          <a:xfrm>
            <a:off x="664234" y="445977"/>
            <a:ext cx="7746341" cy="1231392"/>
          </a:xfrm>
        </p:spPr>
        <p:txBody>
          <a:bodyPr/>
          <a:lstStyle/>
          <a:p>
            <a:r>
              <a:rPr lang="sv-SE" sz="3600" dirty="0"/>
              <a:t>Insatser inom området psykisk hälsa och suicidprevention 2022</a:t>
            </a:r>
          </a:p>
        </p:txBody>
      </p:sp>
      <p:sp>
        <p:nvSpPr>
          <p:cNvPr id="11" name="Platshållare för innehåll 2"/>
          <p:cNvSpPr>
            <a:spLocks noGrp="1"/>
          </p:cNvSpPr>
          <p:nvPr>
            <p:ph idx="1"/>
          </p:nvPr>
        </p:nvSpPr>
        <p:spPr>
          <a:xfrm>
            <a:off x="529091" y="1859729"/>
            <a:ext cx="6984343" cy="3902491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sz="2000" dirty="0"/>
              <a:t>Den grundöverenskommelse som tecknades i december 2020 ska också ska ange inriktningen på det arbete som ska bedrivas under 2022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sz="2000" dirty="0"/>
              <a:t>En tilläggsöverenskommelse som kompletterar grundöverenskommelsen.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sv-SE" sz="2000" dirty="0"/>
              <a:t>Förutom det som framgår av grundöverenskommelsen ska de medel som tilldelas SKR användas till att under 2022 även </a:t>
            </a:r>
          </a:p>
          <a:p>
            <a:pPr lvl="1">
              <a:spcBef>
                <a:spcPts val="600"/>
              </a:spcBef>
            </a:pPr>
            <a:r>
              <a:rPr lang="sv-SE" dirty="0"/>
              <a:t>ge stöd till kommuner och regioner för lokalt och regionalt förbättringsarbete i den pågående omställningen mot en nära vård.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-02-11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Platshållare för sidfo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delningen för vård och omsor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89D212-3966-4D00-A59B-EFC19ACC4594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496D9B6B-EA2A-450A-BA12-AD900FAE8E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1880" y="1093238"/>
            <a:ext cx="3315886" cy="466898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6BF1500A-E11C-4B50-8B72-B7EC68593040}"/>
              </a:ext>
            </a:extLst>
          </p:cNvPr>
          <p:cNvSpPr txBox="1"/>
          <p:nvPr/>
        </p:nvSpPr>
        <p:spPr>
          <a:xfrm>
            <a:off x="8486775" y="3843293"/>
            <a:ext cx="2974316" cy="1477328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sv-SE" dirty="0"/>
              <a:t>Inrapportering av överenskommelsen 2021 ska ske senast den 1 mars 2022 i SKR:s inmatningsverktyg.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CF539BC6-CDA1-4AEE-8635-80C94B71A156}"/>
              </a:ext>
            </a:extLst>
          </p:cNvPr>
          <p:cNvSpPr txBox="1"/>
          <p:nvPr/>
        </p:nvSpPr>
        <p:spPr>
          <a:xfrm>
            <a:off x="419100" y="5849735"/>
            <a:ext cx="56812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/>
              <a:t>&gt;&gt; </a:t>
            </a:r>
            <a:r>
              <a:rPr lang="sv-SE" sz="1600" dirty="0">
                <a:hlinkClick r:id="rId3"/>
              </a:rPr>
              <a:t>Angränsande överenskommelser mellan staten och SKR </a:t>
            </a:r>
            <a:endParaRPr lang="sv-SE" sz="1600" dirty="0"/>
          </a:p>
        </p:txBody>
      </p:sp>
    </p:spTree>
    <p:extLst>
      <p:ext uri="{BB962C8B-B14F-4D97-AF65-F5344CB8AC3E}">
        <p14:creationId xmlns:p14="http://schemas.microsoft.com/office/powerpoint/2010/main" val="4085659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4233" y="670386"/>
            <a:ext cx="9609825" cy="1112405"/>
          </a:xfrm>
        </p:spPr>
        <p:txBody>
          <a:bodyPr/>
          <a:lstStyle/>
          <a:p>
            <a:r>
              <a:rPr lang="sv-SE" sz="4000" dirty="0"/>
              <a:t>Den ekonomiska omfattningen och fördelningen av stimulansmedel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64233" y="2495203"/>
            <a:ext cx="7629914" cy="2953097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sv-SE" sz="2000" dirty="0"/>
              <a:t>Överenskommelsen för 2022 omfattar totalt 1 635 000 000 kronor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000" dirty="0"/>
              <a:t>Av dessa fördelades 1 608 000 000 kronor till kommuner och regioner för att möjliggöra, enskilt eller i samverkan, fortsatt långsiktigt och hållbart utvecklingsarbete inom området.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sz="2000" dirty="0"/>
              <a:t>Resterande 27 000 000 kronor tilldelades SKR för samordning av stöd till huvudmännen och att hantera administration av överenskommelsen. 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2-11</a:t>
            </a:r>
            <a:endParaRPr lang="sv-SE" dirty="0"/>
          </a:p>
        </p:txBody>
      </p:sp>
      <p:sp>
        <p:nvSpPr>
          <p:cNvPr id="7" name="Platshållare för sidfo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3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76433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Platshållare för innehåll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2434456"/>
              </p:ext>
            </p:extLst>
          </p:nvPr>
        </p:nvGraphicFramePr>
        <p:xfrm>
          <a:off x="53269" y="83686"/>
          <a:ext cx="12080965" cy="6725490"/>
        </p:xfrm>
        <a:graphic>
          <a:graphicData uri="http://schemas.openxmlformats.org/drawingml/2006/table">
            <a:tbl>
              <a:tblPr firstRow="1" bandRow="1"/>
              <a:tblGrid>
                <a:gridCol w="99933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3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3792">
                  <a:extLst>
                    <a:ext uri="{9D8B030D-6E8A-4147-A177-3AD203B41FA5}">
                      <a16:colId xmlns:a16="http://schemas.microsoft.com/office/drawing/2014/main" val="117691395"/>
                    </a:ext>
                  </a:extLst>
                </a:gridCol>
              </a:tblGrid>
              <a:tr h="3392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sv-SE" sz="1400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delning av s</a:t>
                      </a:r>
                      <a:r>
                        <a:rPr lang="sv-SE" sz="1400" baseline="0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ulansmedel för 2021-2022 inom området psykisk hälsa och suicidprevention</a:t>
                      </a:r>
                      <a:endParaRPr lang="sv-SE" sz="1400" dirty="0">
                        <a:solidFill>
                          <a:srgbClr val="0070C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sv-SE" sz="1400" b="1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>
                          <a:solidFill>
                            <a:srgbClr val="0070C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0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sv-SE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ll regionerna: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sv-SE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kr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kr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25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4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fortsatt utvecklingsarbete utifrån handlingsplaner och utveckling av mobila lösningar eller liknande.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4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7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28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ör insatser till barn och unga inklusive barn- och ungdomspsykiatrin 0-25 år. 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108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400" b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kunskapsbaserad och säker hälso- och sjukvård. Medlen fördelas efter befolkningsmängd.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679407"/>
                  </a:ext>
                </a:extLst>
              </a:tr>
              <a:tr h="33082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400" b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stärka den psykiatriska traumavården. Medlen fördelas efter befolkningsmängd.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10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400" b="1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ll</a:t>
                      </a:r>
                      <a:r>
                        <a:rPr lang="sv-SE" sz="1400" b="1" baseline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</a:t>
                      </a:r>
                      <a:r>
                        <a:rPr lang="sv-SE" sz="1400" b="1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mmunerna: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sv-S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sv-S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73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40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fortsatt utvecklingsarbete utifrån handlingsplaner och utveckling av mobila lösningar eller liknande.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7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1098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400" b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kunskapsbaserad och säker hälso- och sjukvård och socialtjänst.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3675482"/>
                  </a:ext>
                </a:extLst>
              </a:tr>
              <a:tr h="3210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400" b="1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änen (kommunerna och/eller regionerna):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sv-S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sv-S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274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85750" indent="-28575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40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stärka samverkan för personer som har behov av insatser från flera huvudmän. </a:t>
                      </a:r>
                      <a:endParaRPr lang="sv-SE" sz="1400" baseline="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2974">
                <a:tc>
                  <a:txBody>
                    <a:bodyPr/>
                    <a:lstStyle/>
                    <a:p>
                      <a:pPr marL="285750" indent="-28575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400" baseline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stärka brukarmedverkan.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0046206"/>
                  </a:ext>
                </a:extLst>
              </a:tr>
              <a:tr h="353502">
                <a:tc>
                  <a:txBody>
                    <a:bodyPr/>
                    <a:lstStyle/>
                    <a:p>
                      <a:pPr marL="285750" indent="-28575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400" baseline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stärka det suicidpreventiva arbetet på lokal och regional nivå.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882266"/>
                  </a:ext>
                </a:extLst>
              </a:tr>
              <a:tr h="37534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ill ungdomsmottagningarna för arbete med att främja psykisk hälsa och motverka psykisk ohälsa bland barn och unga.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281296"/>
                  </a:ext>
                </a:extLst>
              </a:tr>
              <a:tr h="3210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sv-SE" sz="1400" b="1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vecklingsmedel till SKR för fortsatt stöd och administration:</a:t>
                      </a:r>
                      <a:endParaRPr lang="sv-SE" sz="140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endParaRPr lang="sv-S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sv-SE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7567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85750" indent="-285750"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400" b="0" baseline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samordna och stödja huvudmännens utvecklingsarbete och utveckla initiativ och lösningar som kan användas som stöd till lokalt och regionalt förbättringsarbete </a:t>
                      </a:r>
                      <a:r>
                        <a:rPr lang="sv-SE" sz="1400" b="1" baseline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mt att ge stöd till huvudmännen i den pågående omställningen mot en nära vård. </a:t>
                      </a:r>
                      <a:endParaRPr lang="sv-SE" sz="1400" b="1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sv-SE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6342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85750" indent="-285750"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sv-SE" sz="1400" b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hantera administration av överenskommelsen, fördelning av medel och för att ta fram anvisningar till regionerna och kommunerna för hur insatserna i överenskommelsen ska redovisas.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sv-SE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905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sv-SE" sz="1400" b="1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t: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sv-SE" sz="14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80</a:t>
                      </a:r>
                      <a:endParaRPr lang="sv-SE" sz="1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sv-SE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35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460A">
                        <a:alpha val="18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3" name="Ellips 2">
            <a:extLst>
              <a:ext uri="{FF2B5EF4-FFF2-40B4-BE49-F238E27FC236}">
                <a16:creationId xmlns:a16="http://schemas.microsoft.com/office/drawing/2014/main" id="{03742867-7692-477A-95FB-1D7E611DBD4F}"/>
              </a:ext>
            </a:extLst>
          </p:cNvPr>
          <p:cNvSpPr/>
          <p:nvPr/>
        </p:nvSpPr>
        <p:spPr>
          <a:xfrm>
            <a:off x="11486534" y="640676"/>
            <a:ext cx="647700" cy="38691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EE22BDBC-180D-4555-8A2C-C8E2D4FD835A}"/>
              </a:ext>
            </a:extLst>
          </p:cNvPr>
          <p:cNvSpPr/>
          <p:nvPr/>
        </p:nvSpPr>
        <p:spPr>
          <a:xfrm>
            <a:off x="11544300" y="2245404"/>
            <a:ext cx="647700" cy="38691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23C522F7-B120-4480-88B5-1C94AD5ED1F0}"/>
              </a:ext>
            </a:extLst>
          </p:cNvPr>
          <p:cNvSpPr/>
          <p:nvPr/>
        </p:nvSpPr>
        <p:spPr>
          <a:xfrm>
            <a:off x="11510265" y="6339501"/>
            <a:ext cx="647700" cy="38691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F8B92B56-6540-4EA8-8AB4-67617A1EC03D}"/>
              </a:ext>
            </a:extLst>
          </p:cNvPr>
          <p:cNvSpPr/>
          <p:nvPr/>
        </p:nvSpPr>
        <p:spPr>
          <a:xfrm>
            <a:off x="11536900" y="4990087"/>
            <a:ext cx="647700" cy="38691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008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/>
          <p:cNvSpPr>
            <a:spLocks noGrp="1"/>
          </p:cNvSpPr>
          <p:nvPr>
            <p:ph type="title"/>
          </p:nvPr>
        </p:nvSpPr>
        <p:spPr>
          <a:xfrm>
            <a:off x="664232" y="498936"/>
            <a:ext cx="9609825" cy="1173537"/>
          </a:xfrm>
        </p:spPr>
        <p:txBody>
          <a:bodyPr/>
          <a:lstStyle/>
          <a:p>
            <a:r>
              <a:rPr lang="sv-SE" sz="3200" dirty="0"/>
              <a:t>SKR ska samordna och stödja huvudmännens utvecklingsarbete: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665999" y="1818524"/>
            <a:ext cx="5306175" cy="4306051"/>
          </a:xfrm>
        </p:spPr>
        <p:txBody>
          <a:bodyPr/>
          <a:lstStyle/>
          <a:p>
            <a:r>
              <a:rPr lang="sv-SE" sz="1600" dirty="0"/>
              <a:t>Samordning och erfarenhetsutbyte kring utvecklingsarbetet och stöd till uppföljning och analyser, </a:t>
            </a:r>
          </a:p>
          <a:p>
            <a:r>
              <a:rPr lang="sv-SE" sz="1600" dirty="0"/>
              <a:t>stödja en ökad tillgänglighet till första linjen insatser för barn och unga och till barn- och ungdomspsykiatrin,</a:t>
            </a:r>
          </a:p>
          <a:p>
            <a:r>
              <a:rPr lang="sv-SE" sz="1600" dirty="0"/>
              <a:t>stöd till det lokala och regionala suicidpreventiva arbetet,</a:t>
            </a:r>
          </a:p>
          <a:p>
            <a:r>
              <a:rPr lang="sv-SE" sz="1600" dirty="0"/>
              <a:t>innovationsstöd och samordning för förbättrad tillgänglighet med mobila lösningar, inklusive vård och behandling på distans, och effektiva och ändamålsenliga lösningar för transporter av patienter, </a:t>
            </a:r>
          </a:p>
          <a:p>
            <a:r>
              <a:rPr lang="sv-SE" sz="1600" dirty="0"/>
              <a:t>stöd till utveckling av den psykiatriska traumavården,</a:t>
            </a:r>
          </a:p>
          <a:p>
            <a:endParaRPr lang="sv-SE" sz="1600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half" idx="2"/>
          </p:nvPr>
        </p:nvSpPr>
        <p:spPr>
          <a:xfrm>
            <a:off x="6161924" y="1818524"/>
            <a:ext cx="5306175" cy="4306051"/>
          </a:xfrm>
        </p:spPr>
        <p:txBody>
          <a:bodyPr/>
          <a:lstStyle/>
          <a:p>
            <a:r>
              <a:rPr lang="sv-SE" sz="1600" dirty="0"/>
              <a:t>inventering av pågående utveckling och erfarenhetsutbyte samt analys av framgångsfaktorer och hinder med särskilt fokus på samverkan och stöd för arbete och sysselsättning,</a:t>
            </a:r>
          </a:p>
          <a:p>
            <a:r>
              <a:rPr lang="sv-SE" sz="1600" dirty="0"/>
              <a:t>stöd till uppföljning och systematiskt förbättringsarbete med särskilt fokus på kvalitet i vård och behandling vid samsjuklighet samt att minska behovet av tvångsvård och tvångsåtgärder samt </a:t>
            </a:r>
          </a:p>
          <a:p>
            <a:r>
              <a:rPr lang="sv-SE" sz="1600" dirty="0"/>
              <a:t>samordning med Folkhälsomyndigheten, Socialstyrelsen och andra berörda myndigheter,</a:t>
            </a:r>
          </a:p>
          <a:p>
            <a:r>
              <a:rPr lang="sv-SE" sz="1600" dirty="0"/>
              <a:t>ge stöd till kommuner och regioner för lokalt och regionalt förbättringsarbete i den pågående omställningen mot en nära vård avseende arbetet med psykisk hälsa, psykisk ohälsa och suicidprevention.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2-11</a:t>
            </a:r>
            <a:endParaRPr lang="sv-SE" dirty="0"/>
          </a:p>
        </p:txBody>
      </p:sp>
      <p:sp>
        <p:nvSpPr>
          <p:cNvPr id="2" name="Platshållare för sidfo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vdelningen för vård och omsorg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89D212-3966-4D00-A59B-EFC19ACC4594}" type="slidenum">
              <a:rPr lang="sv-SE" smtClean="0"/>
              <a:t>5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184874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innehåll 4">
            <a:extLst>
              <a:ext uri="{FF2B5EF4-FFF2-40B4-BE49-F238E27FC236}">
                <a16:creationId xmlns:a16="http://schemas.microsoft.com/office/drawing/2014/main" id="{16277D27-ED4D-4E6B-9D6C-969D0145739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442764" y="207515"/>
            <a:ext cx="11452492" cy="6442970"/>
          </a:xfr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C33D4318-0329-4FCE-86E9-8B4AA0EEC841}"/>
              </a:ext>
            </a:extLst>
          </p:cNvPr>
          <p:cNvSpPr txBox="1"/>
          <p:nvPr/>
        </p:nvSpPr>
        <p:spPr>
          <a:xfrm>
            <a:off x="6953250" y="3019425"/>
            <a:ext cx="4286250" cy="3046988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sv-SE" sz="1600" b="1" dirty="0"/>
              <a:t>Statsbidraget kan sökas fö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inrättandet av psykiatriambulanser inom den </a:t>
            </a:r>
            <a:r>
              <a:rPr lang="sv-SE" sz="1600" dirty="0" err="1"/>
              <a:t>preshospitala</a:t>
            </a:r>
            <a:r>
              <a:rPr lang="sv-SE" sz="1600" dirty="0"/>
              <a:t> akutsjukvården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utveckling av arbetssätt för </a:t>
            </a:r>
            <a:r>
              <a:rPr lang="sv-SE" sz="1600" dirty="0" err="1"/>
              <a:t>prehospitala</a:t>
            </a:r>
            <a:r>
              <a:rPr lang="sv-SE" sz="1600" dirty="0"/>
              <a:t> akutsjukvårdsbedömningar av patienter med psykisk ohälsa eller </a:t>
            </a:r>
            <a:r>
              <a:rPr lang="sv-SE" sz="1600" dirty="0" err="1"/>
              <a:t>suicidalitet</a:t>
            </a:r>
            <a:r>
              <a:rPr lang="sv-SE" sz="1600" dirty="0"/>
              <a:t> genom digitala hjälpmedel och system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övriga anpassningar i verksamheterna och som rör material, utbildningsinsatser eller liknande, o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vissa kostnader för administration av den verksamhet som bidrag lämnas för.</a:t>
            </a:r>
          </a:p>
        </p:txBody>
      </p:sp>
    </p:spTree>
    <p:extLst>
      <p:ext uri="{BB962C8B-B14F-4D97-AF65-F5344CB8AC3E}">
        <p14:creationId xmlns:p14="http://schemas.microsoft.com/office/powerpoint/2010/main" val="1461005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664232" y="579210"/>
            <a:ext cx="10269238" cy="1232420"/>
          </a:xfrm>
        </p:spPr>
        <p:txBody>
          <a:bodyPr/>
          <a:lstStyle/>
          <a:p>
            <a:r>
              <a:rPr lang="sv-SE" sz="3200" dirty="0"/>
              <a:t>Utredningen (S 2020:08) Samordnade insatser vid samsjuklighet</a:t>
            </a:r>
            <a:br>
              <a:rPr lang="sv-SE" sz="3200" dirty="0"/>
            </a:b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603856" y="1942252"/>
            <a:ext cx="8285619" cy="4153747"/>
          </a:xfrm>
        </p:spPr>
        <p:txBody>
          <a:bodyPr/>
          <a:lstStyle/>
          <a:p>
            <a:pPr marL="30163" indent="0">
              <a:buNone/>
            </a:pPr>
            <a:r>
              <a:rPr lang="sv-SE" sz="2000" dirty="0">
                <a:effectLst/>
                <a:ea typeface="Garamond" panose="02020404030301010803" pitchFamily="18" charset="0"/>
                <a:cs typeface="Times New Roman" panose="02020603050405020304" pitchFamily="18" charset="0"/>
              </a:rPr>
              <a:t>Delbetänkande 30 november 2021 </a:t>
            </a:r>
            <a:r>
              <a:rPr lang="sv-SE" sz="20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r 2020:68</a:t>
            </a:r>
            <a:r>
              <a:rPr lang="sv-SE" sz="2000" dirty="0"/>
              <a:t> med h</a:t>
            </a:r>
            <a:r>
              <a:rPr lang="sv-SE" sz="2000" dirty="0">
                <a:ea typeface="Garamond" panose="02020404030301010803" pitchFamily="18" charset="0"/>
                <a:cs typeface="Times New Roman" panose="02020603050405020304" pitchFamily="18" charset="0"/>
              </a:rPr>
              <a:t>uvudförslagen:</a:t>
            </a:r>
          </a:p>
          <a:p>
            <a:pPr marL="30163" indent="0">
              <a:buNone/>
            </a:pPr>
            <a:r>
              <a:rPr lang="sv-SE" sz="2000" dirty="0">
                <a:ea typeface="Garamond" panose="02020404030301010803" pitchFamily="18" charset="0"/>
                <a:cs typeface="Times New Roman" panose="02020603050405020304" pitchFamily="18" charset="0"/>
              </a:rPr>
              <a:t>Ett </a:t>
            </a:r>
            <a:r>
              <a:rPr lang="sv-SE" sz="2000" dirty="0">
                <a:effectLst/>
                <a:ea typeface="Garamond" panose="02020404030301010803" pitchFamily="18" charset="0"/>
                <a:cs typeface="Times New Roman" panose="02020603050405020304" pitchFamily="18" charset="0"/>
              </a:rPr>
              <a:t>tydliggörande av regionernas och kommunernas uppdrag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sv-SE" sz="1600" dirty="0"/>
              <a:t>Regionernas hälso- och sjukvård ska ansvara för all behandling av skadligt bruk och beroende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sv-SE" sz="1600" dirty="0"/>
              <a:t>Perspektivförskjutning för socialtjänstens arbete med skadligt bruk och beroende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sv-SE" sz="1600" dirty="0">
                <a:effectLst/>
                <a:ea typeface="Garamond" panose="02020404030301010803" pitchFamily="18" charset="0"/>
                <a:cs typeface="Times New Roman" panose="02020603050405020304" pitchFamily="18" charset="0"/>
              </a:rPr>
              <a:t>En skyldighet </a:t>
            </a:r>
            <a:r>
              <a:rPr lang="sv-SE" sz="1600" dirty="0">
                <a:ea typeface="Garamond" panose="02020404030301010803" pitchFamily="18" charset="0"/>
                <a:cs typeface="Times New Roman" panose="02020603050405020304" pitchFamily="18" charset="0"/>
              </a:rPr>
              <a:t>för regioner </a:t>
            </a:r>
            <a:r>
              <a:rPr lang="sv-SE" sz="1600" dirty="0">
                <a:effectLst/>
                <a:ea typeface="Garamond" panose="02020404030301010803" pitchFamily="18" charset="0"/>
                <a:cs typeface="Times New Roman" panose="02020603050405020304" pitchFamily="18" charset="0"/>
              </a:rPr>
              <a:t>och kommuner att bedriva en gemensam vård- och stödverksamhet</a:t>
            </a:r>
          </a:p>
          <a:p>
            <a:pPr marL="457200" lvl="1" indent="0">
              <a:spcBef>
                <a:spcPts val="600"/>
              </a:spcBef>
              <a:spcAft>
                <a:spcPts val="1800"/>
              </a:spcAft>
              <a:buNone/>
            </a:pPr>
            <a:r>
              <a:rPr lang="sv-SE" dirty="0">
                <a:cs typeface="Times New Roman" panose="02020603050405020304" pitchFamily="18" charset="0"/>
              </a:rPr>
              <a:t>Sista dag att svara på remissen 30 april 2022</a:t>
            </a:r>
            <a:endParaRPr lang="sv-SE" sz="2000" dirty="0"/>
          </a:p>
          <a:p>
            <a:pPr marL="30163" indent="0">
              <a:buNone/>
            </a:pPr>
            <a:r>
              <a:rPr lang="sv-SE" sz="2000" dirty="0"/>
              <a:t>Slutbetänkande överlämnas senast 31 januari 2023: </a:t>
            </a:r>
          </a:p>
          <a:p>
            <a:pPr marL="30163" indent="0">
              <a:buNone/>
            </a:pPr>
            <a:r>
              <a:rPr lang="sv-SE" sz="2000" dirty="0"/>
              <a:t>Förslag på gemensam lagstiftning för personer som vårdas utan samtycke enligt LVM eller LP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-02-11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E4FB1B6-F382-4BF3-AD3F-A3CCCC5A5F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978788">
            <a:off x="9036965" y="1420159"/>
            <a:ext cx="2494143" cy="36533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id="{B720C9E4-FFCC-4190-8C2B-9948F25D0A38}"/>
              </a:ext>
            </a:extLst>
          </p:cNvPr>
          <p:cNvSpPr txBox="1"/>
          <p:nvPr/>
        </p:nvSpPr>
        <p:spPr>
          <a:xfrm>
            <a:off x="8935278" y="5444084"/>
            <a:ext cx="3180522" cy="3090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Från delar till helhet SOU 2021:93 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07D62F78-53BB-426D-A689-C087C0966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98D81CC-3BAC-45E6-98A6-CF6A424CD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7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79053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FFEBDA3-EB3C-4114-9511-6B950AC9E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n reform med tio bärande delar</a:t>
            </a:r>
          </a:p>
        </p:txBody>
      </p:sp>
      <p:pic>
        <p:nvPicPr>
          <p:cNvPr id="5" name="Platshållare för innehåll 4">
            <a:extLst>
              <a:ext uri="{FF2B5EF4-FFF2-40B4-BE49-F238E27FC236}">
                <a16:creationId xmlns:a16="http://schemas.microsoft.com/office/drawing/2014/main" id="{5DA3D541-1F79-4924-942C-01E20E942E9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7227" y="1724025"/>
            <a:ext cx="10755900" cy="4362450"/>
          </a:xfrm>
        </p:spPr>
      </p:pic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649FB61B-F0C4-4723-A194-87649F342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2-11</a:t>
            </a:r>
            <a:endParaRPr lang="sv-SE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6C44BE07-0EF0-48B9-9EED-57A89E3FF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AEA67C43-8E9C-48B7-9C41-BC3FE60EF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8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86494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1B5F34B-D9D5-4FCA-B7F8-C5622053A0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817" y="509047"/>
            <a:ext cx="11289383" cy="1000811"/>
          </a:xfrm>
        </p:spPr>
        <p:txBody>
          <a:bodyPr/>
          <a:lstStyle/>
          <a:p>
            <a:r>
              <a:rPr lang="sv-SE" sz="3600" dirty="0"/>
              <a:t>Tilläggsdirektiv till Samsjuklighetsutredningen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F238E91-902B-4D67-AAAB-A2568FB4CF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4232" y="1847654"/>
            <a:ext cx="10845897" cy="4386147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sv-SE" dirty="0"/>
              <a:t>Utifrån sin analys av för- och nackdelar med en gemensam LVM- och LPT- lagstiftning ska utredningen lämna konkreta förslag på en sådan gemensam tvångsvårdslagstiftning med syfte att ….</a:t>
            </a:r>
          </a:p>
          <a:p>
            <a:pPr marL="457200" lvl="1" indent="0">
              <a:buNone/>
            </a:pPr>
            <a:r>
              <a:rPr lang="sv-SE" dirty="0"/>
              <a:t>… bl.a. göra tvångsvårdslagstiftningen mer flexibel i sin utformning, säkerställa att insatser ges utifrån den enskildes behov samt stärka rättssäkerheten och säkerheten i vården för de personer som ska vårdas med stöd av den gemensamma tvångslagstiftningen,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dirty="0"/>
              <a:t>ta ställning till och bedöma eventuella behov av förändringar i ansvarsfördelningen mellan de berörda huvudmännen,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v-SE" dirty="0"/>
              <a:t>lämna nödvändiga författningsförslag och de förslag till åtgärder i övrigt som utredaren bedömer behövs.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AFBBAB4-533B-4CF3-B661-7026713AD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2-11</a:t>
            </a:r>
            <a:endParaRPr lang="sv-SE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AAD86E1F-D3F1-4578-8D1B-71AF276A69EB}"/>
              </a:ext>
            </a:extLst>
          </p:cNvPr>
          <p:cNvSpPr txBox="1"/>
          <p:nvPr/>
        </p:nvSpPr>
        <p:spPr>
          <a:xfrm>
            <a:off x="8705851" y="5495895"/>
            <a:ext cx="162877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r: 2021:96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lang="sv-SE" dirty="0"/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0407F772-6B39-4C75-BBED-6BAEEA299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Avdelningen för vård och omsorg</a:t>
            </a:r>
            <a:endParaRPr lang="sv-SE" dirty="0"/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2E4E712F-E7BD-4951-8C41-46E2AB7E8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9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46047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sBaVr9T_ehHesYfh.f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74cDuzQxq3XvDXQeId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5UD0ElTNKSIEY5juZA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PSA4aBQvaJPj95h3n0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6JMkGUT8.WvB5XdshG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8.Aw.fTxiS9jve7rq1T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Wg72XOSG65NXIdPwsv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vZEr7eRnyAdnsF507U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0988X4TR6DPnfa.Z7e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H0N8.cRoKi6QPobXfs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mlKpKYTSebskJ94BFQ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xxjFk6RjGo42iTeHWC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ZofEw4Q.SIOHHTSDpq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oS-PPT-svensk-150922">
  <a:themeElements>
    <a:clrScheme name="Anpassat 4">
      <a:dk1>
        <a:srgbClr val="000000"/>
      </a:dk1>
      <a:lt1>
        <a:srgbClr val="DAD7CB"/>
      </a:lt1>
      <a:dk2>
        <a:srgbClr val="8D6E97"/>
      </a:dk2>
      <a:lt2>
        <a:srgbClr val="4A7729"/>
      </a:lt2>
      <a:accent1>
        <a:srgbClr val="A6BCC6"/>
      </a:accent1>
      <a:accent2>
        <a:srgbClr val="7D9AAA"/>
      </a:accent2>
      <a:accent3>
        <a:srgbClr val="D3BF96"/>
      </a:accent3>
      <a:accent4>
        <a:srgbClr val="002B45"/>
      </a:accent4>
      <a:accent5>
        <a:srgbClr val="857363"/>
      </a:accent5>
      <a:accent6>
        <a:srgbClr val="45232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AD7CB"/>
        </a:solidFill>
        <a:ln>
          <a:noFill/>
        </a:ln>
      </a:spPr>
      <a:bodyPr rtlCol="0" anchor="ctr"/>
      <a:lstStyle>
        <a:defPPr algn="ctr">
          <a:defRPr sz="19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900" smtClean="0"/>
        </a:defPPr>
      </a:lstStyle>
    </a:txDef>
  </a:objectDefaults>
  <a:extraClrSchemeLst/>
  <a:custClrLst>
    <a:custClr name="Beige Diagrambakgrund">
      <a:srgbClr val="DAD7CB"/>
    </a:custClr>
    <a:custClr name="Mörkbeige">
      <a:srgbClr val="D3BF96"/>
    </a:custClr>
    <a:custClr>
      <a:srgbClr val="AAA38E"/>
    </a:custClr>
    <a:custClr name="Brun">
      <a:srgbClr val="857363"/>
    </a:custClr>
    <a:custClr name="Mellanbrun">
      <a:srgbClr val="6D5047"/>
    </a:custClr>
    <a:custClr name="Mörkbrun">
      <a:srgbClr val="452325"/>
    </a:custClr>
    <a:custClr name="Vit">
      <a:srgbClr val="FFFFFF"/>
    </a:custClr>
    <a:custClr name="Vit">
      <a:srgbClr val="FFFFFF"/>
    </a:custClr>
    <a:custClr name="Svart">
      <a:srgbClr val="000000"/>
    </a:custClr>
    <a:custClr name="Vit">
      <a:srgbClr val="FFFFFF"/>
    </a:custClr>
    <a:custClr name="Ljusblå">
      <a:srgbClr val="E0E6E6"/>
    </a:custClr>
    <a:custClr name="Isblå">
      <a:srgbClr val="A6BCC6"/>
    </a:custClr>
    <a:custClr name="Ljus blågrå">
      <a:srgbClr val="A5ACAF"/>
    </a:custClr>
    <a:custClr name="Blågrå">
      <a:srgbClr val="7D9AAA"/>
    </a:custClr>
    <a:custClr name="Mörk blågrå">
      <a:srgbClr val="51626F"/>
    </a:custClr>
    <a:custClr name="Mörkblå">
      <a:srgbClr val="002B45"/>
    </a:custClr>
    <a:custClr name="Vit">
      <a:srgbClr val="FFFFFF"/>
    </a:custClr>
    <a:custClr name="Accentfärg orange">
      <a:srgbClr val="ED8B00"/>
    </a:custClr>
    <a:custClr name="Accentfärg turkos">
      <a:srgbClr val="3DB7E4"/>
    </a:custClr>
    <a:custClr name="Accentfärg grön">
      <a:srgbClr val="3F9C35"/>
    </a:custClr>
    <a:custClr name="Diagramfärg Riket 251/230/204">
      <a:srgbClr val="FBE6CC"/>
    </a:custClr>
    <a:custClr name="Diagramfärg Riket 246/205/153">
      <a:srgbClr val="F6CD99"/>
    </a:custClr>
    <a:custClr name="Diagramfärg Riket 242/181/102">
      <a:srgbClr val="F2B566"/>
    </a:custClr>
    <a:custClr name="Diagramfärg Riket Huvudfärg">
      <a:srgbClr val="ED8B00"/>
    </a:custClr>
    <a:custClr name="Diagramfärg Riket 175/98/10">
      <a:srgbClr val="AF620A"/>
    </a:custClr>
    <a:custClr name="Diagramfärg Riket 117/66/0">
      <a:srgbClr val="754200"/>
    </a:custClr>
    <a:custClr name="Vit">
      <a:srgbClr val="FFFFFF"/>
    </a:custClr>
    <a:custClr name="Diagramfärg Riket Huvudfärg">
      <a:srgbClr val="ED8B00"/>
    </a:custClr>
    <a:custClr name="Diagramfärg alarmerande händelse">
      <a:srgbClr val="BA0C2F"/>
    </a:custClr>
    <a:custClr name="Beige Diagrambakgrund">
      <a:srgbClr val="DAD7CB"/>
    </a:custClr>
    <a:custClr name="Diagramfärg män 218/237/203">
      <a:srgbClr val="DAEDCB"/>
    </a:custClr>
    <a:custClr name="Diagramfärg män 180/219/151">
      <a:srgbClr val="B4DB97"/>
    </a:custClr>
    <a:custClr name="Diagramfärg män 142/201/99">
      <a:srgbClr val="8EC963"/>
    </a:custClr>
    <a:custClr name="Diagramfärg män Huvudfärg">
      <a:srgbClr val="4A7729"/>
    </a:custClr>
    <a:custClr name="Diagramfärg män 55/88/31">
      <a:srgbClr val="3B581F"/>
    </a:custClr>
    <a:custClr name="Diagramfärg män 36/58/20">
      <a:srgbClr val="243A14"/>
    </a:custClr>
    <a:custClr name="Vit">
      <a:srgbClr val="FFFFFF"/>
    </a:custClr>
    <a:custClr name="Diagramfärg män Huvudfärg">
      <a:srgbClr val="4A7729"/>
    </a:custClr>
    <a:custClr name="Vit">
      <a:srgbClr val="FFFFFF"/>
    </a:custClr>
    <a:custClr name="Vit">
      <a:srgbClr val="FFFFFF"/>
    </a:custClr>
    <a:custClr name="Diagramfärg kvinnor 232/225/234">
      <a:srgbClr val="E8E1EA"/>
    </a:custClr>
    <a:custClr name="Diagramfärg kvinnor 209/197/214">
      <a:srgbClr val="D1C5D6"/>
    </a:custClr>
    <a:custClr name="Diagramfärg kvinnor 186/167/192">
      <a:srgbClr val="BAA7C0"/>
    </a:custClr>
    <a:custClr name="Diagramfärg kvinnor Huvudfärg">
      <a:srgbClr val="8D6E97"/>
    </a:custClr>
    <a:custClr name="Diagramfärg kvinnor 106/82/114">
      <a:srgbClr val="6A5272"/>
    </a:custClr>
    <a:custClr name="Diagramfärg kvinnor 70/54/75">
      <a:srgbClr val="46364B"/>
    </a:custClr>
    <a:custClr name="Vit">
      <a:srgbClr val="FFFFFF"/>
    </a:custClr>
    <a:custClr name="Diagramfärg kvinnor huvudfärg">
      <a:srgbClr val="8D6E97"/>
    </a:custClr>
    <a:custClr name="Vit">
      <a:srgbClr val="FFFFFF"/>
    </a:custClr>
    <a:custClr name="Vit">
      <a:srgbClr val="FFFFFF"/>
    </a:custClr>
  </a:custClrLst>
  <a:extLst>
    <a:ext uri="{05A4C25C-085E-4340-85A3-A5531E510DB2}">
      <thm15:themeFamily xmlns:thm15="http://schemas.microsoft.com/office/thememl/2012/main" name="SoS PPT-sve-16.9.potx" id="{5FB52A0F-AAB8-41D5-B429-08CFAF4F1824}" vid="{01A0E70B-603C-4E46-A5A4-C3F353CF1FAF}"/>
    </a:ext>
  </a:extLst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KL PPT Mörk">
  <a:themeElements>
    <a:clrScheme name="SKL PPT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.potx" id="{B89EF165-2CBC-45BD-AA2F-B5486EFAD403}" vid="{BAC734A2-4D67-4DF7-A44B-6E1D7DEC4FA3}"/>
    </a:ext>
  </a:extLst>
</a:theme>
</file>

<file path=ppt/theme/theme3.xml><?xml version="1.0" encoding="utf-8"?>
<a:theme xmlns:a="http://schemas.openxmlformats.org/drawingml/2006/main" name="4_Vit SKL PPT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L vit.potx" id="{562A0B7D-BFE7-4DE9-A538-3955DFF40F38}" vid="{7A82D390-1A40-4887-B4B6-55AE438167B8}"/>
    </a:ext>
  </a:extLst>
</a:theme>
</file>

<file path=ppt/theme/theme4.xml><?xml version="1.0" encoding="utf-8"?>
<a:theme xmlns:a="http://schemas.openxmlformats.org/drawingml/2006/main" name="5_Vit SKL PPT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L PPT 2017 - kopia.potx" id="{4C235305-D824-4B25-BB04-4F6412D50AA4}" vid="{5CF48263-8110-4E85-86B6-8C097C9908AA}"/>
    </a:ext>
  </a:extLst>
</a:theme>
</file>

<file path=ppt/theme/theme5.xml><?xml version="1.0" encoding="utf-8"?>
<a:theme xmlns:a="http://schemas.openxmlformats.org/drawingml/2006/main" name="Inledningsbilder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 v2.potx" id="{D3B8204D-15DA-4D53-A978-5DAFE6192BB7}" vid="{2E78E39C-B60B-491F-A96D-3FDDC16DF557}"/>
    </a:ext>
  </a:extLst>
</a:theme>
</file>

<file path=ppt/theme/theme6.xml><?xml version="1.0" encoding="utf-8"?>
<a:theme xmlns:a="http://schemas.openxmlformats.org/drawingml/2006/main" name="1_SKL PPT Mörk">
  <a:themeElements>
    <a:clrScheme name="SKL PPT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 v2.potx" id="{D3B8204D-15DA-4D53-A978-5DAFE6192BB7}" vid="{095DED30-6B13-4BE2-BA4C-EA3394B95B7F}"/>
    </a:ext>
  </a:extLst>
</a:theme>
</file>

<file path=ppt/theme/theme7.xml><?xml version="1.0" encoding="utf-8"?>
<a:theme xmlns:a="http://schemas.openxmlformats.org/drawingml/2006/main" name="FoHM Sve 2018">
  <a:themeElements>
    <a:clrScheme name="FoHM 2018">
      <a:dk1>
        <a:sysClr val="windowText" lastClr="000000"/>
      </a:dk1>
      <a:lt1>
        <a:sysClr val="window" lastClr="FFFFFF"/>
      </a:lt1>
      <a:dk2>
        <a:srgbClr val="A2A2A2"/>
      </a:dk2>
      <a:lt2>
        <a:srgbClr val="D8D8D8"/>
      </a:lt2>
      <a:accent1>
        <a:srgbClr val="E30613"/>
      </a:accent1>
      <a:accent2>
        <a:srgbClr val="951B81"/>
      </a:accent2>
      <a:accent3>
        <a:srgbClr val="009FE3"/>
      </a:accent3>
      <a:accent4>
        <a:srgbClr val="E6007E"/>
      </a:accent4>
      <a:accent5>
        <a:srgbClr val="95C11F"/>
      </a:accent5>
      <a:accent6>
        <a:srgbClr val="FF6600"/>
      </a:accent6>
      <a:hlink>
        <a:srgbClr val="005C9A"/>
      </a:hlink>
      <a:folHlink>
        <a:srgbClr val="005C9A"/>
      </a:folHlink>
    </a:clrScheme>
    <a:fontScheme name="FoHM 2018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Dekor 1 100%">
      <a:srgbClr val="E30613"/>
    </a:custClr>
    <a:custClr name="Dekor 1 60%">
      <a:srgbClr val="EE6A71"/>
    </a:custClr>
    <a:custClr name="Dekor 1 30%">
      <a:srgbClr val="F7B4B8"/>
    </a:custClr>
    <a:custClr name="Dekor 2 100%">
      <a:srgbClr val="951B81"/>
    </a:custClr>
    <a:custClr name="Dekor 2 60%">
      <a:srgbClr val="BF76B3"/>
    </a:custClr>
    <a:custClr name="Dekor 2 30%">
      <a:srgbClr val="DFBAD9"/>
    </a:custClr>
    <a:custClr name="Dekor 3 100%">
      <a:srgbClr val="009FE3"/>
    </a:custClr>
    <a:custClr name="Dekor 3 60%">
      <a:srgbClr val="66C5EE"/>
    </a:custClr>
    <a:custClr name="Dekor 3 30%">
      <a:srgbClr val="B2E2F7"/>
    </a:custClr>
    <a:custClr name="Dekor 4 100%">
      <a:srgbClr val="E6007E"/>
    </a:custClr>
    <a:custClr name="Dekor 4 60%">
      <a:srgbClr val="F066B2"/>
    </a:custClr>
    <a:custClr name="Dekor 4 30%">
      <a:srgbClr val="F7B2D8"/>
    </a:custClr>
    <a:custClr name="Dekor 5 100%">
      <a:srgbClr val="95C11F"/>
    </a:custClr>
    <a:custClr name="Dekor 5 60%">
      <a:srgbClr val="BFDA79"/>
    </a:custClr>
    <a:custClr name="Dekor 5 30%">
      <a:srgbClr val="DFECBB"/>
    </a:custClr>
    <a:custClr name="Orange 100%">
      <a:srgbClr val="FF6600"/>
    </a:custClr>
    <a:custClr name="Orange 60%">
      <a:srgbClr val="FFA466"/>
    </a:custClr>
    <a:custClr name="Orange 30%">
      <a:srgbClr val="FFD1B2"/>
    </a:custClr>
    <a:custClr name="Grön">
      <a:srgbClr val="009284"/>
    </a:custClr>
    <a:custClr name="Blå">
      <a:srgbClr val="0065AC"/>
    </a:custClr>
    <a:custClr name="Gul">
      <a:srgbClr val="F1C300"/>
    </a:custClr>
  </a:custClrLst>
  <a:extLst>
    <a:ext uri="{05A4C25C-085E-4340-85A3-A5531E510DB2}">
      <thm15:themeFamily xmlns:thm15="http://schemas.microsoft.com/office/thememl/2012/main" name="Blank.potx" id="{948AC633-5958-4BF2-B08E-8C16D3FAE157}" vid="{B4753ACA-4B81-4F75-9801-C277E6E8B863}"/>
    </a:ext>
  </a:extLst>
</a:theme>
</file>

<file path=ppt/theme/theme8.xml><?xml version="1.0" encoding="utf-8"?>
<a:theme xmlns:a="http://schemas.openxmlformats.org/drawingml/2006/main" name="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 v2.potx" id="{D3B8204D-15DA-4D53-A978-5DAFE6192BB7}" vid="{2CAF1EB7-961D-45FB-A7E7-5E325B50E9F9}"/>
    </a:ext>
  </a:extLst>
</a:theme>
</file>

<file path=ppt/theme/theme9.xml><?xml version="1.0" encoding="utf-8"?>
<a:theme xmlns:a="http://schemas.openxmlformats.org/drawingml/2006/main" name="2_SKL PPT Röd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.potx" id="{B89EF165-2CBC-45BD-AA2F-B5486EFAD403}" vid="{3F5E6311-99C4-451D-B1A9-747533F76B6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319</TotalTime>
  <Words>1159</Words>
  <Application>Microsoft Office PowerPoint</Application>
  <PresentationFormat>Bredbild</PresentationFormat>
  <Paragraphs>156</Paragraphs>
  <Slides>16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9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6</vt:i4>
      </vt:variant>
    </vt:vector>
  </HeadingPairs>
  <TitlesOfParts>
    <vt:vector size="32" baseType="lpstr">
      <vt:lpstr>Arial</vt:lpstr>
      <vt:lpstr>Calibri</vt:lpstr>
      <vt:lpstr>Century Gothic</vt:lpstr>
      <vt:lpstr>Symbol</vt:lpstr>
      <vt:lpstr>Tahoma</vt:lpstr>
      <vt:lpstr>Wingdings</vt:lpstr>
      <vt:lpstr>SoS-PPT-svensk-150922</vt:lpstr>
      <vt:lpstr>SKL PPT Mörk</vt:lpstr>
      <vt:lpstr>4_Vit SKL PPT</vt:lpstr>
      <vt:lpstr>5_Vit SKL PPT</vt:lpstr>
      <vt:lpstr>Inledningsbilder</vt:lpstr>
      <vt:lpstr>1_SKL PPT Mörk</vt:lpstr>
      <vt:lpstr>FoHM Sve 2018</vt:lpstr>
      <vt:lpstr>SKL PPT Gul</vt:lpstr>
      <vt:lpstr>2_SKL PPT Röd</vt:lpstr>
      <vt:lpstr>think-cell Slide</vt:lpstr>
      <vt:lpstr>Länskonferens Värmland Psykisk hälsa  11 februari 2022 Mikael Malm, SKR</vt:lpstr>
      <vt:lpstr>Insatser inom området psykisk hälsa och suicidprevention 2022</vt:lpstr>
      <vt:lpstr>Den ekonomiska omfattningen och fördelningen av stimulansmedel</vt:lpstr>
      <vt:lpstr>PowerPoint-presentation</vt:lpstr>
      <vt:lpstr>SKR ska samordna och stödja huvudmännens utvecklingsarbete:</vt:lpstr>
      <vt:lpstr>PowerPoint-presentation</vt:lpstr>
      <vt:lpstr>Utredningen (S 2020:08) Samordnade insatser vid samsjuklighet </vt:lpstr>
      <vt:lpstr>En reform med tio bärande delar</vt:lpstr>
      <vt:lpstr>Tilläggsdirektiv till Samsjuklighetsutredningen</vt:lpstr>
      <vt:lpstr>Remisskonferens 17 mars 13.00-16.00</vt:lpstr>
      <vt:lpstr>PowerPoint-presentation</vt:lpstr>
      <vt:lpstr>Bakgrund</vt:lpstr>
      <vt:lpstr>Uppdragets innehåll</vt:lpstr>
      <vt:lpstr>PowerPoint-presentation</vt:lpstr>
      <vt:lpstr>Nuläget kring uppdraget </vt:lpstr>
      <vt:lpstr>Kontakt</vt:lpstr>
    </vt:vector>
  </TitlesOfParts>
  <Company>Socialstyrels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dningsgrupp 201019</dc:title>
  <dc:creator>Corsvall, Linda</dc:creator>
  <cp:keywords>class='Open'</cp:keywords>
  <cp:lastModifiedBy>Malm Mikael</cp:lastModifiedBy>
  <cp:revision>189</cp:revision>
  <cp:lastPrinted>2015-05-08T11:44:01Z</cp:lastPrinted>
  <dcterms:created xsi:type="dcterms:W3CDTF">2020-10-19T11:41:01Z</dcterms:created>
  <dcterms:modified xsi:type="dcterms:W3CDTF">2022-02-11T07:41:25Z</dcterms:modified>
</cp:coreProperties>
</file>